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71" r:id="rId5"/>
    <p:sldId id="287" r:id="rId6"/>
    <p:sldId id="277" r:id="rId7"/>
    <p:sldId id="291" r:id="rId8"/>
  </p:sldIdLst>
  <p:sldSz cx="12192000" cy="6858000"/>
  <p:notesSz cx="6858000" cy="9144000"/>
  <p:custDataLst>
    <p:tags r:id="rId11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353F"/>
    <a:srgbClr val="42545C"/>
    <a:srgbClr val="004E6E"/>
    <a:srgbClr val="3F98C8"/>
    <a:srgbClr val="A50050"/>
    <a:srgbClr val="0075A6"/>
    <a:srgbClr val="2A888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83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9.649897989423882E-2"/>
          <c:y val="0.10972504678558677"/>
          <c:w val="0.80020222750085201"/>
          <c:h val="0.7805499064288263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explosion val="2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0-E90F-4E23-A241-61D8D71A6781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E90F-4E23-A241-61D8D71A6781}"/>
              </c:ext>
            </c:extLst>
          </c:dPt>
          <c:dPt>
            <c:idx val="2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2-E90F-4E23-A241-61D8D71A6781}"/>
              </c:ext>
            </c:extLst>
          </c:dPt>
          <c:dPt>
            <c:idx val="3"/>
            <c:bubble3D val="0"/>
            <c:spPr>
              <a:solidFill>
                <a:schemeClr val="accent3">
                  <a:lumMod val="75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E90F-4E23-A241-61D8D71A6781}"/>
              </c:ext>
            </c:extLst>
          </c:dPt>
          <c:dLbls>
            <c:dLbl>
              <c:idx val="0"/>
              <c:layout>
                <c:manualLayout>
                  <c:x val="-1.6293297796081824E-3"/>
                  <c:y val="0.27816042723624285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47" b="1" i="0" u="none" strike="noStrike" kern="1200" spc="0" baseline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047" dirty="0">
                        <a:solidFill>
                          <a:srgbClr val="002060"/>
                        </a:solidFill>
                      </a:rPr>
                      <a:t>Трудоустроенные</a:t>
                    </a:r>
                    <a:endParaRPr lang="ru-RU" sz="105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492956237613154"/>
                      <c:h val="0.1167043420800898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E90F-4E23-A241-61D8D71A6781}"/>
                </c:ext>
              </c:extLst>
            </c:dLbl>
            <c:dLbl>
              <c:idx val="1"/>
              <c:layout>
                <c:manualLayout>
                  <c:x val="2.8899337874930028E-2"/>
                  <c:y val="0.1642742013997814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998" b="1" i="0" u="none" strike="noStrike" kern="1200" spc="0" baseline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998" dirty="0">
                        <a:solidFill>
                          <a:srgbClr val="002060"/>
                        </a:solidFill>
                      </a:rPr>
                      <a:t>Поступившие в ВУЗ</a:t>
                    </a:r>
                    <a:endParaRPr lang="ru-RU" sz="10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E90F-4E23-A241-61D8D71A6781}"/>
                </c:ext>
              </c:extLst>
            </c:dLbl>
            <c:dLbl>
              <c:idx val="2"/>
              <c:layout>
                <c:manualLayout>
                  <c:x val="0"/>
                  <c:y val="-0.1837155733803533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98" b="1" i="0" u="none" strike="noStrike" kern="1200" spc="0" baseline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998" baseline="0" dirty="0">
                        <a:solidFill>
                          <a:srgbClr val="002060"/>
                        </a:solidFill>
                      </a:rPr>
                      <a:t>Занимающиеся  </a:t>
                    </a:r>
                    <a:r>
                      <a:rPr lang="ru-RU" sz="998" baseline="0" dirty="0" err="1">
                        <a:solidFill>
                          <a:srgbClr val="002060"/>
                        </a:solidFill>
                      </a:rPr>
                      <a:t>предпринима-тельством</a:t>
                    </a:r>
                    <a:endParaRPr lang="ru-RU" sz="10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2-E90F-4E23-A241-61D8D71A6781}"/>
                </c:ext>
              </c:extLst>
            </c:dLbl>
            <c:dLbl>
              <c:idx val="3"/>
              <c:layout>
                <c:manualLayout>
                  <c:x val="0.22774238041673359"/>
                  <c:y val="-7.4207222010401669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47" b="1" i="0" u="none" strike="noStrike" kern="1200" spc="0" baseline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ru-RU" sz="1000" b="1" dirty="0" smtClean="0">
                        <a:solidFill>
                          <a:srgbClr val="002060"/>
                        </a:solidFill>
                      </a:rPr>
                      <a:t>В процессе трудоустройства</a:t>
                    </a:r>
                    <a:endParaRPr lang="ru-RU" sz="10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5323129251700675"/>
                      <c:h val="0.22048461526980437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90F-4E23-A241-61D8D71A67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97" b="1" i="0" u="none" strike="noStrike" kern="1200" spc="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02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Ишга жойлашганлар </c:v>
                </c:pt>
                <c:pt idx="1">
                  <c:v>ОТМга ўқишга кирганлар</c:v>
                </c:pt>
                <c:pt idx="2">
                  <c:v>Тадбиркорликка жалб қилинганлар</c:v>
                </c:pt>
                <c:pt idx="3">
                  <c:v>Бандлиги таъминланмаганлар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79848</c:v>
                </c:pt>
                <c:pt idx="1">
                  <c:v>19012</c:v>
                </c:pt>
                <c:pt idx="2">
                  <c:v>11150</c:v>
                </c:pt>
                <c:pt idx="3">
                  <c:v>284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90F-4E23-A241-61D8D71A67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338">
          <a:noFill/>
        </a:ln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95D566-7B2E-45A9-813C-06F28391E9A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ru-RU"/>
        </a:p>
      </dgm:t>
    </dgm:pt>
    <dgm:pt modelId="{1ECAC62A-68E0-4AF6-909C-326417536A78}">
      <dgm:prSet phldrT="[Текст]" custT="1"/>
      <dgm:spPr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9CDE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410640" tIns="33020" rIns="33020" bIns="33020" numCol="1" spcCol="1270" anchor="ctr" anchorCtr="0"/>
        <a:lstStyle/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002060"/>
              </a:solidFill>
              <a:latin typeface="Arial" panose="020B0604020202020204"/>
              <a:ea typeface="+mn-ea"/>
              <a:cs typeface="Arial" panose="020B0604020202020204" pitchFamily="34" charset="0"/>
            </a:rPr>
            <a:t>база </a:t>
          </a:r>
          <a:r>
            <a:rPr lang="ru-RU" sz="1400" b="1" kern="1200" dirty="0" smtClean="0">
              <a:solidFill>
                <a:srgbClr val="002060"/>
              </a:solidFill>
              <a:latin typeface="Arial" panose="020B0604020202020204"/>
              <a:ea typeface="+mn-ea"/>
              <a:cs typeface="Arial" panose="020B0604020202020204" pitchFamily="34" charset="0"/>
            </a:rPr>
            <a:t>Единой национальной системой труда Министерства занятости и сокращения бедности и </a:t>
          </a:r>
          <a:r>
            <a:rPr lang="uz-Cyrl-UZ" sz="1400" b="1" kern="1200" dirty="0">
              <a:solidFill>
                <a:srgbClr val="002060"/>
              </a:solidFill>
              <a:latin typeface="Arial" panose="020B0604020202020204"/>
              <a:ea typeface="+mn-ea"/>
              <a:cs typeface="Arial" panose="020B0604020202020204" pitchFamily="34" charset="0"/>
            </a:rPr>
            <a:t>Информационная система </a:t>
          </a:r>
          <a:r>
            <a:rPr lang="uz-Cyrl-UZ" sz="1400" b="1" kern="1200" dirty="0" smtClean="0">
              <a:solidFill>
                <a:srgbClr val="002060"/>
              </a:solidFill>
              <a:latin typeface="Arial" panose="020B0604020202020204"/>
              <a:ea typeface="+mn-ea"/>
              <a:cs typeface="Arial" panose="020B0604020202020204" pitchFamily="34" charset="0"/>
            </a:rPr>
            <a:t>«</a:t>
          </a:r>
          <a:r>
            <a:rPr lang="uz-Cyrl-UZ" sz="1400" b="1" kern="1200" dirty="0">
              <a:solidFill>
                <a:srgbClr val="002060"/>
              </a:solidFill>
              <a:latin typeface="Arial" panose="020B0604020202020204"/>
              <a:ea typeface="+mn-ea"/>
              <a:cs typeface="Arial" panose="020B0604020202020204" pitchFamily="34" charset="0"/>
            </a:rPr>
            <a:t>Бандлик хизмати»</a:t>
          </a:r>
          <a:endParaRPr lang="ru-RU" sz="1400" b="1" kern="1200" dirty="0">
            <a:solidFill>
              <a:srgbClr val="002060"/>
            </a:solidFill>
            <a:latin typeface="Arial" panose="020B0604020202020204"/>
            <a:ea typeface="+mn-ea"/>
            <a:cs typeface="Arial" panose="020B0604020202020204" pitchFamily="34" charset="0"/>
          </a:endParaRPr>
        </a:p>
      </dgm:t>
    </dgm:pt>
    <dgm:pt modelId="{D8C5B402-A8F8-4F88-A830-8BEF037BDD93}" type="parTrans" cxnId="{997D7D28-32D1-4E83-8CF4-D436214C0453}">
      <dgm:prSet/>
      <dgm:spPr/>
      <dgm:t>
        <a:bodyPr/>
        <a:lstStyle/>
        <a:p>
          <a:endParaRPr lang="ru-RU"/>
        </a:p>
      </dgm:t>
    </dgm:pt>
    <dgm:pt modelId="{237D1879-5E56-43EF-9ECB-E4A66B25EAC9}" type="sibTrans" cxnId="{997D7D28-32D1-4E83-8CF4-D436214C0453}">
      <dgm:prSet/>
      <dgm:spPr/>
      <dgm:t>
        <a:bodyPr/>
        <a:lstStyle/>
        <a:p>
          <a:endParaRPr lang="ru-RU"/>
        </a:p>
      </dgm:t>
    </dgm:pt>
    <dgm:pt modelId="{FF7BDC29-9230-44AE-A26D-69621E1C46FA}">
      <dgm:prSet phldrT="[Текст]" custT="1"/>
      <dgm:spPr/>
      <dgm:t>
        <a:bodyPr/>
        <a:lstStyle/>
        <a:p>
          <a:r>
            <a:rPr lang="ru-RU" sz="1400" b="1" dirty="0">
              <a:solidFill>
                <a:srgbClr val="002060"/>
              </a:solidFill>
              <a:cs typeface="Arial" panose="020B0604020202020204" pitchFamily="34" charset="0"/>
            </a:rPr>
            <a:t>база данных Государственного налогового комитета</a:t>
          </a:r>
          <a:endParaRPr lang="ru-RU" sz="1400" b="1" dirty="0">
            <a:solidFill>
              <a:srgbClr val="002060"/>
            </a:solidFill>
          </a:endParaRPr>
        </a:p>
      </dgm:t>
    </dgm:pt>
    <dgm:pt modelId="{241B2219-55E7-48B1-8F8C-EDE9385BC7CB}" type="parTrans" cxnId="{A160544B-6BCB-4BC7-BA09-66CA7539C6F0}">
      <dgm:prSet/>
      <dgm:spPr/>
      <dgm:t>
        <a:bodyPr/>
        <a:lstStyle/>
        <a:p>
          <a:endParaRPr lang="ru-RU"/>
        </a:p>
      </dgm:t>
    </dgm:pt>
    <dgm:pt modelId="{90CE4C36-E84F-4B87-8F7B-79DCCF19B64F}" type="sibTrans" cxnId="{A160544B-6BCB-4BC7-BA09-66CA7539C6F0}">
      <dgm:prSet/>
      <dgm:spPr/>
      <dgm:t>
        <a:bodyPr/>
        <a:lstStyle/>
        <a:p>
          <a:endParaRPr lang="ru-RU"/>
        </a:p>
      </dgm:t>
    </dgm:pt>
    <dgm:pt modelId="{EAB480F6-C086-4448-8B13-06122DFC3CD7}">
      <dgm:prSet phldrT="[Текст]" custT="1"/>
      <dgm:spPr/>
      <dgm:t>
        <a:bodyPr/>
        <a:lstStyle/>
        <a:p>
          <a:r>
            <a:rPr lang="ru-RU" sz="1400" b="1" dirty="0">
              <a:solidFill>
                <a:srgbClr val="002060"/>
              </a:solidFill>
              <a:cs typeface="Arial" panose="020B0604020202020204" pitchFamily="34" charset="0"/>
            </a:rPr>
            <a:t>база данных </a:t>
          </a:r>
          <a:r>
            <a:rPr lang="ru-RU" sz="1400" b="1" dirty="0" smtClean="0">
              <a:solidFill>
                <a:srgbClr val="002060"/>
              </a:solidFill>
              <a:cs typeface="Arial" panose="020B0604020202020204" pitchFamily="34" charset="0"/>
            </a:rPr>
            <a:t>Агентства статистики</a:t>
          </a:r>
          <a:endParaRPr lang="ru-RU" sz="1400" b="1" dirty="0">
            <a:solidFill>
              <a:srgbClr val="002060"/>
            </a:solidFill>
          </a:endParaRPr>
        </a:p>
      </dgm:t>
    </dgm:pt>
    <dgm:pt modelId="{2063861F-0C4C-4A0F-9CAD-051E918C8D69}" type="parTrans" cxnId="{92029FB2-B7BE-4288-843D-9C3A98191DC1}">
      <dgm:prSet/>
      <dgm:spPr/>
      <dgm:t>
        <a:bodyPr/>
        <a:lstStyle/>
        <a:p>
          <a:endParaRPr lang="ru-RU"/>
        </a:p>
      </dgm:t>
    </dgm:pt>
    <dgm:pt modelId="{6A121E62-5EF3-450D-A067-13E1FB865373}" type="sibTrans" cxnId="{92029FB2-B7BE-4288-843D-9C3A98191DC1}">
      <dgm:prSet/>
      <dgm:spPr/>
      <dgm:t>
        <a:bodyPr/>
        <a:lstStyle/>
        <a:p>
          <a:endParaRPr lang="ru-RU"/>
        </a:p>
      </dgm:t>
    </dgm:pt>
    <dgm:pt modelId="{FDDE01A2-A67D-4AC9-8286-8333A4B49431}">
      <dgm:prSet phldrT="[Текст]" custT="1"/>
      <dgm:spPr/>
      <dgm:t>
        <a:bodyPr/>
        <a:lstStyle/>
        <a:p>
          <a:r>
            <a:rPr lang="ru-RU" sz="1300" b="1" dirty="0">
              <a:solidFill>
                <a:srgbClr val="002060"/>
              </a:solidFill>
              <a:cs typeface="Arial" panose="020B0604020202020204" pitchFamily="34" charset="0"/>
            </a:rPr>
            <a:t>база данных </a:t>
          </a:r>
          <a:r>
            <a:rPr lang="ru-RU" sz="1400" b="1" dirty="0">
              <a:solidFill>
                <a:srgbClr val="002060"/>
              </a:solidFill>
              <a:cs typeface="Arial" panose="020B0604020202020204" pitchFamily="34" charset="0"/>
            </a:rPr>
            <a:t>Торгово-промышленной</a:t>
          </a:r>
          <a:r>
            <a:rPr lang="ru-RU" sz="1300" b="1" dirty="0">
              <a:solidFill>
                <a:srgbClr val="002060"/>
              </a:solidFill>
              <a:cs typeface="Arial" panose="020B0604020202020204" pitchFamily="34" charset="0"/>
            </a:rPr>
            <a:t> палаты</a:t>
          </a:r>
          <a:endParaRPr lang="ru-RU" sz="1300" b="1" dirty="0">
            <a:solidFill>
              <a:srgbClr val="002060"/>
            </a:solidFill>
          </a:endParaRPr>
        </a:p>
      </dgm:t>
    </dgm:pt>
    <dgm:pt modelId="{E6D4D159-7CE7-4B62-A447-3F695044DA06}" type="parTrans" cxnId="{6E2BEB29-58FA-463F-A2B5-AC4D908E2AA6}">
      <dgm:prSet/>
      <dgm:spPr/>
      <dgm:t>
        <a:bodyPr/>
        <a:lstStyle/>
        <a:p>
          <a:endParaRPr lang="ru-RU"/>
        </a:p>
      </dgm:t>
    </dgm:pt>
    <dgm:pt modelId="{DD012CAF-911C-4DEE-8BAF-5B3AD22D90E3}" type="sibTrans" cxnId="{6E2BEB29-58FA-463F-A2B5-AC4D908E2AA6}">
      <dgm:prSet/>
      <dgm:spPr/>
      <dgm:t>
        <a:bodyPr/>
        <a:lstStyle/>
        <a:p>
          <a:endParaRPr lang="ru-RU"/>
        </a:p>
      </dgm:t>
    </dgm:pt>
    <dgm:pt modelId="{1A2ADBAC-BEAE-4821-A3ED-D0E8CDEF3E4F}" type="pres">
      <dgm:prSet presAssocID="{2A95D566-7B2E-45A9-813C-06F28391E9AE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8FCA6AA5-E78D-4925-AAEF-8E4F3121F484}" type="pres">
      <dgm:prSet presAssocID="{2A95D566-7B2E-45A9-813C-06F28391E9AE}" presName="Name1" presStyleCnt="0"/>
      <dgm:spPr/>
    </dgm:pt>
    <dgm:pt modelId="{FA26AE21-1584-4C05-AB08-59D274BA036D}" type="pres">
      <dgm:prSet presAssocID="{2A95D566-7B2E-45A9-813C-06F28391E9AE}" presName="cycle" presStyleCnt="0"/>
      <dgm:spPr/>
    </dgm:pt>
    <dgm:pt modelId="{4095FEF2-3B89-406B-B992-1B73B91D500D}" type="pres">
      <dgm:prSet presAssocID="{2A95D566-7B2E-45A9-813C-06F28391E9AE}" presName="srcNode" presStyleLbl="node1" presStyleIdx="0" presStyleCnt="4"/>
      <dgm:spPr/>
    </dgm:pt>
    <dgm:pt modelId="{67B777E9-E5E6-4D98-97E1-78DF92DB021F}" type="pres">
      <dgm:prSet presAssocID="{2A95D566-7B2E-45A9-813C-06F28391E9AE}" presName="conn" presStyleLbl="parChTrans1D2" presStyleIdx="0" presStyleCnt="1"/>
      <dgm:spPr/>
      <dgm:t>
        <a:bodyPr/>
        <a:lstStyle/>
        <a:p>
          <a:endParaRPr lang="ru-RU"/>
        </a:p>
      </dgm:t>
    </dgm:pt>
    <dgm:pt modelId="{3455F1D9-9E87-4754-B1E1-6821C998B47A}" type="pres">
      <dgm:prSet presAssocID="{2A95D566-7B2E-45A9-813C-06F28391E9AE}" presName="extraNode" presStyleLbl="node1" presStyleIdx="0" presStyleCnt="4"/>
      <dgm:spPr/>
    </dgm:pt>
    <dgm:pt modelId="{8CFD81C6-3A12-4812-8197-76D25FAFCEF0}" type="pres">
      <dgm:prSet presAssocID="{2A95D566-7B2E-45A9-813C-06F28391E9AE}" presName="dstNode" presStyleLbl="node1" presStyleIdx="0" presStyleCnt="4"/>
      <dgm:spPr/>
    </dgm:pt>
    <dgm:pt modelId="{01FEFBF3-DA7C-4F82-8ADE-20398B2A52F3}" type="pres">
      <dgm:prSet presAssocID="{1ECAC62A-68E0-4AF6-909C-326417536A78}" presName="text_1" presStyleLbl="node1" presStyleIdx="0" presStyleCnt="4" custScaleY="137460">
        <dgm:presLayoutVars>
          <dgm:bulletEnabled val="1"/>
        </dgm:presLayoutVars>
      </dgm:prSet>
      <dgm:spPr>
        <a:xfrm>
          <a:off x="382297" y="258536"/>
          <a:ext cx="5466735" cy="517341"/>
        </a:xfrm>
        <a:prstGeom prst="rect">
          <a:avLst/>
        </a:prstGeom>
      </dgm:spPr>
      <dgm:t>
        <a:bodyPr/>
        <a:lstStyle/>
        <a:p>
          <a:endParaRPr lang="ru-RU"/>
        </a:p>
      </dgm:t>
    </dgm:pt>
    <dgm:pt modelId="{F925E37B-7DEA-4E60-9986-C148DC602C77}" type="pres">
      <dgm:prSet presAssocID="{1ECAC62A-68E0-4AF6-909C-326417536A78}" presName="accent_1" presStyleCnt="0"/>
      <dgm:spPr/>
    </dgm:pt>
    <dgm:pt modelId="{8CB57C14-DDD1-4738-9442-168AEF6BE86E}" type="pres">
      <dgm:prSet presAssocID="{1ECAC62A-68E0-4AF6-909C-326417536A78}" presName="accentRepeatNode" presStyleLbl="solidFgAcc1" presStyleIdx="0" presStyleCnt="4"/>
      <dgm:spPr/>
    </dgm:pt>
    <dgm:pt modelId="{CBBE8497-B8D9-4A7C-B9D6-A788C89D63AE}" type="pres">
      <dgm:prSet presAssocID="{FF7BDC29-9230-44AE-A26D-69621E1C46FA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7D7DDD-A54E-483E-85EA-F12A5D2CF066}" type="pres">
      <dgm:prSet presAssocID="{FF7BDC29-9230-44AE-A26D-69621E1C46FA}" presName="accent_2" presStyleCnt="0"/>
      <dgm:spPr/>
    </dgm:pt>
    <dgm:pt modelId="{3CCEEAD3-209B-43A1-9A3B-1AFED42F8BD3}" type="pres">
      <dgm:prSet presAssocID="{FF7BDC29-9230-44AE-A26D-69621E1C46FA}" presName="accentRepeatNode" presStyleLbl="solidFgAcc1" presStyleIdx="1" presStyleCnt="4"/>
      <dgm:spPr/>
    </dgm:pt>
    <dgm:pt modelId="{37E51D3E-15C7-4B1F-84AA-D91371767074}" type="pres">
      <dgm:prSet presAssocID="{EAB480F6-C086-4448-8B13-06122DFC3CD7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D6BACF-CD70-4F5B-8A8B-0C2BE8E17759}" type="pres">
      <dgm:prSet presAssocID="{EAB480F6-C086-4448-8B13-06122DFC3CD7}" presName="accent_3" presStyleCnt="0"/>
      <dgm:spPr/>
    </dgm:pt>
    <dgm:pt modelId="{0928D3F9-A7AC-459E-BE92-F01C0E60A3D7}" type="pres">
      <dgm:prSet presAssocID="{EAB480F6-C086-4448-8B13-06122DFC3CD7}" presName="accentRepeatNode" presStyleLbl="solidFgAcc1" presStyleIdx="2" presStyleCnt="4"/>
      <dgm:spPr/>
    </dgm:pt>
    <dgm:pt modelId="{966E7003-2FA3-4CDA-B24E-1A8DD773E0A3}" type="pres">
      <dgm:prSet presAssocID="{FDDE01A2-A67D-4AC9-8286-8333A4B49431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A733F9A-90EE-4133-BCF0-C360D78EEF8C}" type="pres">
      <dgm:prSet presAssocID="{FDDE01A2-A67D-4AC9-8286-8333A4B49431}" presName="accent_4" presStyleCnt="0"/>
      <dgm:spPr/>
    </dgm:pt>
    <dgm:pt modelId="{0AA08969-B326-4657-BE3C-04784F51CFB3}" type="pres">
      <dgm:prSet presAssocID="{FDDE01A2-A67D-4AC9-8286-8333A4B49431}" presName="accentRepeatNode" presStyleLbl="solidFgAcc1" presStyleIdx="3" presStyleCnt="4"/>
      <dgm:spPr/>
    </dgm:pt>
  </dgm:ptLst>
  <dgm:cxnLst>
    <dgm:cxn modelId="{AA5BF198-53D1-49AE-BD5F-49BAD655849F}" type="presOf" srcId="{2A95D566-7B2E-45A9-813C-06F28391E9AE}" destId="{1A2ADBAC-BEAE-4821-A3ED-D0E8CDEF3E4F}" srcOrd="0" destOrd="0" presId="urn:microsoft.com/office/officeart/2008/layout/VerticalCurvedList"/>
    <dgm:cxn modelId="{713CFA8D-BF1B-480E-87AD-B8F08BA600F6}" type="presOf" srcId="{1ECAC62A-68E0-4AF6-909C-326417536A78}" destId="{01FEFBF3-DA7C-4F82-8ADE-20398B2A52F3}" srcOrd="0" destOrd="0" presId="urn:microsoft.com/office/officeart/2008/layout/VerticalCurvedList"/>
    <dgm:cxn modelId="{997D7D28-32D1-4E83-8CF4-D436214C0453}" srcId="{2A95D566-7B2E-45A9-813C-06F28391E9AE}" destId="{1ECAC62A-68E0-4AF6-909C-326417536A78}" srcOrd="0" destOrd="0" parTransId="{D8C5B402-A8F8-4F88-A830-8BEF037BDD93}" sibTransId="{237D1879-5E56-43EF-9ECB-E4A66B25EAC9}"/>
    <dgm:cxn modelId="{FD0A7E37-D243-457D-9BDB-12239173BA0F}" type="presOf" srcId="{237D1879-5E56-43EF-9ECB-E4A66B25EAC9}" destId="{67B777E9-E5E6-4D98-97E1-78DF92DB021F}" srcOrd="0" destOrd="0" presId="urn:microsoft.com/office/officeart/2008/layout/VerticalCurvedList"/>
    <dgm:cxn modelId="{6E2BEB29-58FA-463F-A2B5-AC4D908E2AA6}" srcId="{2A95D566-7B2E-45A9-813C-06F28391E9AE}" destId="{FDDE01A2-A67D-4AC9-8286-8333A4B49431}" srcOrd="3" destOrd="0" parTransId="{E6D4D159-7CE7-4B62-A447-3F695044DA06}" sibTransId="{DD012CAF-911C-4DEE-8BAF-5B3AD22D90E3}"/>
    <dgm:cxn modelId="{148037D7-CBB6-41DE-B15C-01B00743C1C2}" type="presOf" srcId="{FF7BDC29-9230-44AE-A26D-69621E1C46FA}" destId="{CBBE8497-B8D9-4A7C-B9D6-A788C89D63AE}" srcOrd="0" destOrd="0" presId="urn:microsoft.com/office/officeart/2008/layout/VerticalCurvedList"/>
    <dgm:cxn modelId="{4B217F3F-1E0A-4AEC-A106-4FE470B02F1C}" type="presOf" srcId="{EAB480F6-C086-4448-8B13-06122DFC3CD7}" destId="{37E51D3E-15C7-4B1F-84AA-D91371767074}" srcOrd="0" destOrd="0" presId="urn:microsoft.com/office/officeart/2008/layout/VerticalCurvedList"/>
    <dgm:cxn modelId="{92029FB2-B7BE-4288-843D-9C3A98191DC1}" srcId="{2A95D566-7B2E-45A9-813C-06F28391E9AE}" destId="{EAB480F6-C086-4448-8B13-06122DFC3CD7}" srcOrd="2" destOrd="0" parTransId="{2063861F-0C4C-4A0F-9CAD-051E918C8D69}" sibTransId="{6A121E62-5EF3-450D-A067-13E1FB865373}"/>
    <dgm:cxn modelId="{A160544B-6BCB-4BC7-BA09-66CA7539C6F0}" srcId="{2A95D566-7B2E-45A9-813C-06F28391E9AE}" destId="{FF7BDC29-9230-44AE-A26D-69621E1C46FA}" srcOrd="1" destOrd="0" parTransId="{241B2219-55E7-48B1-8F8C-EDE9385BC7CB}" sibTransId="{90CE4C36-E84F-4B87-8F7B-79DCCF19B64F}"/>
    <dgm:cxn modelId="{0C7BF659-5273-456D-A578-FC218175777A}" type="presOf" srcId="{FDDE01A2-A67D-4AC9-8286-8333A4B49431}" destId="{966E7003-2FA3-4CDA-B24E-1A8DD773E0A3}" srcOrd="0" destOrd="0" presId="urn:microsoft.com/office/officeart/2008/layout/VerticalCurvedList"/>
    <dgm:cxn modelId="{E226DC97-CF18-460C-BF6B-CA03E94E8109}" type="presParOf" srcId="{1A2ADBAC-BEAE-4821-A3ED-D0E8CDEF3E4F}" destId="{8FCA6AA5-E78D-4925-AAEF-8E4F3121F484}" srcOrd="0" destOrd="0" presId="urn:microsoft.com/office/officeart/2008/layout/VerticalCurvedList"/>
    <dgm:cxn modelId="{162E4058-C4BD-40F5-9E15-F11008D82EE3}" type="presParOf" srcId="{8FCA6AA5-E78D-4925-AAEF-8E4F3121F484}" destId="{FA26AE21-1584-4C05-AB08-59D274BA036D}" srcOrd="0" destOrd="0" presId="urn:microsoft.com/office/officeart/2008/layout/VerticalCurvedList"/>
    <dgm:cxn modelId="{71DD02AB-5B3B-4B94-8729-98680366D5C0}" type="presParOf" srcId="{FA26AE21-1584-4C05-AB08-59D274BA036D}" destId="{4095FEF2-3B89-406B-B992-1B73B91D500D}" srcOrd="0" destOrd="0" presId="urn:microsoft.com/office/officeart/2008/layout/VerticalCurvedList"/>
    <dgm:cxn modelId="{9D98C026-ABFA-47DC-97FC-769D9A415889}" type="presParOf" srcId="{FA26AE21-1584-4C05-AB08-59D274BA036D}" destId="{67B777E9-E5E6-4D98-97E1-78DF92DB021F}" srcOrd="1" destOrd="0" presId="urn:microsoft.com/office/officeart/2008/layout/VerticalCurvedList"/>
    <dgm:cxn modelId="{96F25B6E-834D-43F5-845B-6D5F92DFE714}" type="presParOf" srcId="{FA26AE21-1584-4C05-AB08-59D274BA036D}" destId="{3455F1D9-9E87-4754-B1E1-6821C998B47A}" srcOrd="2" destOrd="0" presId="urn:microsoft.com/office/officeart/2008/layout/VerticalCurvedList"/>
    <dgm:cxn modelId="{313BE319-1E98-45E3-83B0-448D0E0EA529}" type="presParOf" srcId="{FA26AE21-1584-4C05-AB08-59D274BA036D}" destId="{8CFD81C6-3A12-4812-8197-76D25FAFCEF0}" srcOrd="3" destOrd="0" presId="urn:microsoft.com/office/officeart/2008/layout/VerticalCurvedList"/>
    <dgm:cxn modelId="{AB57A9C9-AE93-45E9-B5DF-DA8047622DC8}" type="presParOf" srcId="{8FCA6AA5-E78D-4925-AAEF-8E4F3121F484}" destId="{01FEFBF3-DA7C-4F82-8ADE-20398B2A52F3}" srcOrd="1" destOrd="0" presId="urn:microsoft.com/office/officeart/2008/layout/VerticalCurvedList"/>
    <dgm:cxn modelId="{6B358FF7-8666-4A88-8C75-9AC7779922E3}" type="presParOf" srcId="{8FCA6AA5-E78D-4925-AAEF-8E4F3121F484}" destId="{F925E37B-7DEA-4E60-9986-C148DC602C77}" srcOrd="2" destOrd="0" presId="urn:microsoft.com/office/officeart/2008/layout/VerticalCurvedList"/>
    <dgm:cxn modelId="{82D1DA48-252C-4467-A7EC-CC4D81651CCB}" type="presParOf" srcId="{F925E37B-7DEA-4E60-9986-C148DC602C77}" destId="{8CB57C14-DDD1-4738-9442-168AEF6BE86E}" srcOrd="0" destOrd="0" presId="urn:microsoft.com/office/officeart/2008/layout/VerticalCurvedList"/>
    <dgm:cxn modelId="{07C12990-8611-49BF-8157-246A9EFE121A}" type="presParOf" srcId="{8FCA6AA5-E78D-4925-AAEF-8E4F3121F484}" destId="{CBBE8497-B8D9-4A7C-B9D6-A788C89D63AE}" srcOrd="3" destOrd="0" presId="urn:microsoft.com/office/officeart/2008/layout/VerticalCurvedList"/>
    <dgm:cxn modelId="{6576E525-0227-4480-9158-1407C1E7EFAA}" type="presParOf" srcId="{8FCA6AA5-E78D-4925-AAEF-8E4F3121F484}" destId="{557D7DDD-A54E-483E-85EA-F12A5D2CF066}" srcOrd="4" destOrd="0" presId="urn:microsoft.com/office/officeart/2008/layout/VerticalCurvedList"/>
    <dgm:cxn modelId="{A72B763D-1491-4136-BC70-8AE283E82DBE}" type="presParOf" srcId="{557D7DDD-A54E-483E-85EA-F12A5D2CF066}" destId="{3CCEEAD3-209B-43A1-9A3B-1AFED42F8BD3}" srcOrd="0" destOrd="0" presId="urn:microsoft.com/office/officeart/2008/layout/VerticalCurvedList"/>
    <dgm:cxn modelId="{5B685F6C-B92B-46B5-8077-B700E816CC3F}" type="presParOf" srcId="{8FCA6AA5-E78D-4925-AAEF-8E4F3121F484}" destId="{37E51D3E-15C7-4B1F-84AA-D91371767074}" srcOrd="5" destOrd="0" presId="urn:microsoft.com/office/officeart/2008/layout/VerticalCurvedList"/>
    <dgm:cxn modelId="{2E3982FA-E9A4-471C-8567-240026A67387}" type="presParOf" srcId="{8FCA6AA5-E78D-4925-AAEF-8E4F3121F484}" destId="{ACD6BACF-CD70-4F5B-8A8B-0C2BE8E17759}" srcOrd="6" destOrd="0" presId="urn:microsoft.com/office/officeart/2008/layout/VerticalCurvedList"/>
    <dgm:cxn modelId="{13DB7766-6B26-40E2-B12A-FBA9A8534DA7}" type="presParOf" srcId="{ACD6BACF-CD70-4F5B-8A8B-0C2BE8E17759}" destId="{0928D3F9-A7AC-459E-BE92-F01C0E60A3D7}" srcOrd="0" destOrd="0" presId="urn:microsoft.com/office/officeart/2008/layout/VerticalCurvedList"/>
    <dgm:cxn modelId="{EE52A05D-5846-4F86-9CC8-29113DFC45FC}" type="presParOf" srcId="{8FCA6AA5-E78D-4925-AAEF-8E4F3121F484}" destId="{966E7003-2FA3-4CDA-B24E-1A8DD773E0A3}" srcOrd="7" destOrd="0" presId="urn:microsoft.com/office/officeart/2008/layout/VerticalCurvedList"/>
    <dgm:cxn modelId="{5540C2F7-AF62-4E0F-9FA9-6D430CCA47A1}" type="presParOf" srcId="{8FCA6AA5-E78D-4925-AAEF-8E4F3121F484}" destId="{5A733F9A-90EE-4133-BCF0-C360D78EEF8C}" srcOrd="8" destOrd="0" presId="urn:microsoft.com/office/officeart/2008/layout/VerticalCurvedList"/>
    <dgm:cxn modelId="{0C92741F-AAFE-4DDD-AB2D-3FA82FFB7008}" type="presParOf" srcId="{5A733F9A-90EE-4133-BCF0-C360D78EEF8C}" destId="{0AA08969-B326-4657-BE3C-04784F51CFB3}" srcOrd="0" destOrd="0" presId="urn:microsoft.com/office/officeart/2008/layout/VerticalCurvedList"/>
  </dgm:cxnLst>
  <dgm:bg>
    <a:noFill/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FB7D4FC-5203-4D2B-8CDC-C2A32C2E4653}" type="doc">
      <dgm:prSet loTypeId="urn:microsoft.com/office/officeart/2005/8/layout/vList3" loCatId="list" qsTypeId="urn:microsoft.com/office/officeart/2005/8/quickstyle/3d2" qsCatId="3D" csTypeId="urn:microsoft.com/office/officeart/2005/8/colors/accent2_1" csCatId="accent2" phldr="1"/>
      <dgm:spPr/>
    </dgm:pt>
    <dgm:pt modelId="{9C041136-6AFC-4576-866D-ACD6D11BB611}">
      <dgm:prSet phldrT="[Текст]" custT="1"/>
      <dgm:spPr/>
      <dgm:t>
        <a:bodyPr/>
        <a:lstStyle/>
        <a:p>
          <a:pPr algn="l"/>
          <a:r>
            <a:rPr lang="ru-RU" sz="1400" b="1" dirty="0">
              <a:solidFill>
                <a:srgbClr val="002060"/>
              </a:solidFill>
              <a:latin typeface="Arial" pitchFamily="34" charset="0"/>
              <a:ea typeface="ＭＳ Ｐゴシック" charset="0"/>
              <a:cs typeface="Arial" pitchFamily="34" charset="0"/>
              <a:sym typeface="Lato Black" charset="0"/>
            </a:rPr>
            <a:t>Электронная база по профессиям и специальностям</a:t>
          </a:r>
          <a:endParaRPr lang="ru-RU" sz="1400" dirty="0">
            <a:solidFill>
              <a:srgbClr val="002060"/>
            </a:solidFill>
          </a:endParaRPr>
        </a:p>
      </dgm:t>
    </dgm:pt>
    <dgm:pt modelId="{EFE70E82-BD13-4049-96F8-FE2DED87B5DC}" type="parTrans" cxnId="{46348CC7-F138-4D66-A458-CA31C5A5E89C}">
      <dgm:prSet/>
      <dgm:spPr/>
      <dgm:t>
        <a:bodyPr/>
        <a:lstStyle/>
        <a:p>
          <a:endParaRPr lang="ru-RU"/>
        </a:p>
      </dgm:t>
    </dgm:pt>
    <dgm:pt modelId="{F83AD9AF-213A-4AD5-9F11-637DCF22A32D}" type="sibTrans" cxnId="{46348CC7-F138-4D66-A458-CA31C5A5E89C}">
      <dgm:prSet/>
      <dgm:spPr/>
      <dgm:t>
        <a:bodyPr/>
        <a:lstStyle/>
        <a:p>
          <a:endParaRPr lang="ru-RU"/>
        </a:p>
      </dgm:t>
    </dgm:pt>
    <dgm:pt modelId="{C837676A-B356-461D-9231-EB8C394F07E7}">
      <dgm:prSet phldrT="[Текст]" custT="1"/>
      <dgm:spPr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gm:spPr>
      <dgm:t>
        <a:bodyPr spcFirstLastPara="0" vert="horz" wrap="square" lIns="229412" tIns="57150" rIns="106680" bIns="57150" numCol="1" spcCol="1270" anchor="ctr" anchorCtr="0"/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002060"/>
              </a:solidFill>
              <a:latin typeface="Arial" pitchFamily="34" charset="0"/>
              <a:ea typeface="ＭＳ Ｐゴシック" charset="0"/>
              <a:cs typeface="Arial" pitchFamily="34" charset="0"/>
            </a:rPr>
            <a:t>Формируется потребность в кадрах среднего звена</a:t>
          </a:r>
        </a:p>
      </dgm:t>
    </dgm:pt>
    <dgm:pt modelId="{1B1F6F6A-5D82-46C7-909F-391ADCB8D987}" type="parTrans" cxnId="{2C91885D-3926-4D02-A53E-88391CB2605C}">
      <dgm:prSet/>
      <dgm:spPr/>
      <dgm:t>
        <a:bodyPr/>
        <a:lstStyle/>
        <a:p>
          <a:endParaRPr lang="ru-RU"/>
        </a:p>
      </dgm:t>
    </dgm:pt>
    <dgm:pt modelId="{AD3CCCB6-2FDF-4941-96FB-FF5C83C07014}" type="sibTrans" cxnId="{2C91885D-3926-4D02-A53E-88391CB2605C}">
      <dgm:prSet/>
      <dgm:spPr/>
      <dgm:t>
        <a:bodyPr/>
        <a:lstStyle/>
        <a:p>
          <a:endParaRPr lang="ru-RU"/>
        </a:p>
      </dgm:t>
    </dgm:pt>
    <dgm:pt modelId="{F07ABA88-CF22-4C90-9610-E3C7C739D6DF}">
      <dgm:prSet phldrT="[Текст]" custT="1"/>
      <dgm:spPr/>
      <dgm:t>
        <a:bodyPr/>
        <a:lstStyle/>
        <a:p>
          <a:pPr algn="l"/>
          <a:r>
            <a:rPr lang="ru-RU" sz="1400" b="1" dirty="0">
              <a:solidFill>
                <a:srgbClr val="002060"/>
              </a:solidFill>
              <a:latin typeface="Arial" pitchFamily="34" charset="0"/>
              <a:ea typeface="ＭＳ Ｐゴシック" charset="0"/>
              <a:cs typeface="Arial" pitchFamily="34" charset="0"/>
              <a:sym typeface="Lato Black" charset="0"/>
            </a:rPr>
            <a:t>Информация о вакансии</a:t>
          </a:r>
          <a:endParaRPr lang="ru-RU" sz="1400" dirty="0">
            <a:solidFill>
              <a:srgbClr val="002060"/>
            </a:solidFill>
          </a:endParaRPr>
        </a:p>
      </dgm:t>
    </dgm:pt>
    <dgm:pt modelId="{F9161779-1F45-4214-8D3E-E293A3F7DA3B}" type="parTrans" cxnId="{1B2E4753-6264-47BB-84CB-54FEB0C11DB5}">
      <dgm:prSet/>
      <dgm:spPr/>
      <dgm:t>
        <a:bodyPr/>
        <a:lstStyle/>
        <a:p>
          <a:endParaRPr lang="ru-RU"/>
        </a:p>
      </dgm:t>
    </dgm:pt>
    <dgm:pt modelId="{DA551E19-93DF-4CEB-92A8-A7150CE92353}" type="sibTrans" cxnId="{1B2E4753-6264-47BB-84CB-54FEB0C11DB5}">
      <dgm:prSet/>
      <dgm:spPr/>
      <dgm:t>
        <a:bodyPr/>
        <a:lstStyle/>
        <a:p>
          <a:endParaRPr lang="ru-RU"/>
        </a:p>
      </dgm:t>
    </dgm:pt>
    <dgm:pt modelId="{F54B7D0F-34D2-4D9E-A77F-833CA0E30856}">
      <dgm:prSet phldrT="[Текст]" custT="1"/>
      <dgm:spPr/>
      <dgm:t>
        <a:bodyPr/>
        <a:lstStyle/>
        <a:p>
          <a:pPr algn="l"/>
          <a:r>
            <a:rPr lang="ru-RU" sz="1400" b="1" dirty="0">
              <a:solidFill>
                <a:srgbClr val="002060"/>
              </a:solidFill>
              <a:latin typeface="Arial" pitchFamily="34" charset="0"/>
              <a:ea typeface="ＭＳ Ｐゴシック" charset="0"/>
              <a:cs typeface="Arial" pitchFamily="34" charset="0"/>
              <a:sym typeface="Lato Black" charset="0"/>
            </a:rPr>
            <a:t>Мониторинг занятости</a:t>
          </a:r>
          <a:endParaRPr lang="ru-RU" sz="1400" dirty="0">
            <a:solidFill>
              <a:srgbClr val="002060"/>
            </a:solidFill>
          </a:endParaRPr>
        </a:p>
      </dgm:t>
    </dgm:pt>
    <dgm:pt modelId="{0E415981-C5E0-41FB-9D86-971063D931B6}" type="parTrans" cxnId="{06262BC3-ABD4-46C6-B000-34897ED7E97B}">
      <dgm:prSet/>
      <dgm:spPr/>
      <dgm:t>
        <a:bodyPr/>
        <a:lstStyle/>
        <a:p>
          <a:endParaRPr lang="ru-RU"/>
        </a:p>
      </dgm:t>
    </dgm:pt>
    <dgm:pt modelId="{DA18961B-2709-4E7E-9E46-E0734A20C232}" type="sibTrans" cxnId="{06262BC3-ABD4-46C6-B000-34897ED7E97B}">
      <dgm:prSet/>
      <dgm:spPr/>
      <dgm:t>
        <a:bodyPr/>
        <a:lstStyle/>
        <a:p>
          <a:endParaRPr lang="ru-RU"/>
        </a:p>
      </dgm:t>
    </dgm:pt>
    <dgm:pt modelId="{3F7B711A-99F2-4FBA-8DE6-6666AF4F7C87}">
      <dgm:prSet phldrT="[Текст]" custT="1"/>
      <dgm:spPr/>
      <dgm:t>
        <a:bodyPr/>
        <a:lstStyle/>
        <a:p>
          <a:pPr algn="l"/>
          <a:r>
            <a:rPr lang="ru-RU" sz="1400" b="1" dirty="0">
              <a:solidFill>
                <a:srgbClr val="002060"/>
              </a:solidFill>
              <a:latin typeface="Arial" pitchFamily="34" charset="0"/>
              <a:ea typeface="ＭＳ Ｐゴシック" charset="0"/>
              <a:cs typeface="Arial" pitchFamily="34" charset="0"/>
              <a:sym typeface="Lato Black" charset="0"/>
            </a:rPr>
            <a:t>Отслеживание персонала, выходящего на рынок труда для работодателей</a:t>
          </a:r>
          <a:endParaRPr lang="ru-RU" sz="1400" dirty="0">
            <a:solidFill>
              <a:srgbClr val="002060"/>
            </a:solidFill>
          </a:endParaRPr>
        </a:p>
      </dgm:t>
    </dgm:pt>
    <dgm:pt modelId="{502046BC-803B-4611-8B16-547D7520BFB7}" type="parTrans" cxnId="{A4BD2E06-60F9-4643-8649-00CEEE54ED95}">
      <dgm:prSet/>
      <dgm:spPr/>
      <dgm:t>
        <a:bodyPr/>
        <a:lstStyle/>
        <a:p>
          <a:endParaRPr lang="ru-RU"/>
        </a:p>
      </dgm:t>
    </dgm:pt>
    <dgm:pt modelId="{D0452C76-5A9C-45A4-B90D-B00C12A81E7B}" type="sibTrans" cxnId="{A4BD2E06-60F9-4643-8649-00CEEE54ED95}">
      <dgm:prSet/>
      <dgm:spPr/>
      <dgm:t>
        <a:bodyPr/>
        <a:lstStyle/>
        <a:p>
          <a:endParaRPr lang="ru-RU"/>
        </a:p>
      </dgm:t>
    </dgm:pt>
    <dgm:pt modelId="{95EAC298-ECA5-414A-9863-5001E1AB967E}" type="pres">
      <dgm:prSet presAssocID="{1FB7D4FC-5203-4D2B-8CDC-C2A32C2E4653}" presName="linearFlow" presStyleCnt="0">
        <dgm:presLayoutVars>
          <dgm:dir/>
          <dgm:resizeHandles val="exact"/>
        </dgm:presLayoutVars>
      </dgm:prSet>
      <dgm:spPr/>
    </dgm:pt>
    <dgm:pt modelId="{5D0E7FD5-98F3-4BAF-B2F4-6D551E16D00F}" type="pres">
      <dgm:prSet presAssocID="{9C041136-6AFC-4576-866D-ACD6D11BB611}" presName="composite" presStyleCnt="0"/>
      <dgm:spPr/>
    </dgm:pt>
    <dgm:pt modelId="{EED4B161-8D00-41DC-8C12-EA74D0028B24}" type="pres">
      <dgm:prSet presAssocID="{9C041136-6AFC-4576-866D-ACD6D11BB611}" presName="imgShp" presStyleLbl="fgImgPlace1" presStyleIdx="0" presStyleCnt="5"/>
      <dgm:spPr/>
    </dgm:pt>
    <dgm:pt modelId="{434E4E86-564D-4FE7-95BF-16A7D0DA93E3}" type="pres">
      <dgm:prSet presAssocID="{9C041136-6AFC-4576-866D-ACD6D11BB611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EA850F1-C80C-46C2-B327-89B2FBB26E87}" type="pres">
      <dgm:prSet presAssocID="{F83AD9AF-213A-4AD5-9F11-637DCF22A32D}" presName="spacing" presStyleCnt="0"/>
      <dgm:spPr/>
    </dgm:pt>
    <dgm:pt modelId="{56D641D4-C3E5-4464-AB89-70B99A4C5656}" type="pres">
      <dgm:prSet presAssocID="{C837676A-B356-461D-9231-EB8C394F07E7}" presName="composite" presStyleCnt="0"/>
      <dgm:spPr/>
    </dgm:pt>
    <dgm:pt modelId="{190354F0-07A0-459D-9216-EDF80E36A4D3}" type="pres">
      <dgm:prSet presAssocID="{C837676A-B356-461D-9231-EB8C394F07E7}" presName="imgShp" presStyleLbl="fgImgPlace1" presStyleIdx="1" presStyleCnt="5"/>
      <dgm:spPr/>
    </dgm:pt>
    <dgm:pt modelId="{2E4AAA8F-9AB7-41D9-A8AA-5460413F1F60}" type="pres">
      <dgm:prSet presAssocID="{C837676A-B356-461D-9231-EB8C394F07E7}" presName="txShp" presStyleLbl="node1" presStyleIdx="1" presStyleCnt="5">
        <dgm:presLayoutVars>
          <dgm:bulletEnabled val="1"/>
        </dgm:presLayoutVars>
      </dgm:prSet>
      <dgm:spPr>
        <a:xfrm rot="10800000">
          <a:off x="1293218" y="676008"/>
          <a:ext cx="4617913" cy="520240"/>
        </a:xfrm>
        <a:prstGeom prst="homePlate">
          <a:avLst/>
        </a:prstGeom>
      </dgm:spPr>
      <dgm:t>
        <a:bodyPr/>
        <a:lstStyle/>
        <a:p>
          <a:endParaRPr lang="ru-RU"/>
        </a:p>
      </dgm:t>
    </dgm:pt>
    <dgm:pt modelId="{3FFB84A8-3999-434C-BE1F-38CB9BC235EC}" type="pres">
      <dgm:prSet presAssocID="{AD3CCCB6-2FDF-4941-96FB-FF5C83C07014}" presName="spacing" presStyleCnt="0"/>
      <dgm:spPr/>
    </dgm:pt>
    <dgm:pt modelId="{42F97793-354A-4A13-B626-3707603247C7}" type="pres">
      <dgm:prSet presAssocID="{F07ABA88-CF22-4C90-9610-E3C7C739D6DF}" presName="composite" presStyleCnt="0"/>
      <dgm:spPr/>
    </dgm:pt>
    <dgm:pt modelId="{C26F9296-12C7-45A2-95BF-594977329419}" type="pres">
      <dgm:prSet presAssocID="{F07ABA88-CF22-4C90-9610-E3C7C739D6DF}" presName="imgShp" presStyleLbl="fgImgPlace1" presStyleIdx="2" presStyleCnt="5"/>
      <dgm:spPr/>
    </dgm:pt>
    <dgm:pt modelId="{44BF0D9F-11AC-4A7F-ADCB-CD7543BAC73E}" type="pres">
      <dgm:prSet presAssocID="{F07ABA88-CF22-4C90-9610-E3C7C739D6DF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FABF98-A644-4523-8908-114B59EB5B1C}" type="pres">
      <dgm:prSet presAssocID="{DA551E19-93DF-4CEB-92A8-A7150CE92353}" presName="spacing" presStyleCnt="0"/>
      <dgm:spPr/>
    </dgm:pt>
    <dgm:pt modelId="{46A76B79-BF87-4BEF-BE00-18B9EEFD7CAD}" type="pres">
      <dgm:prSet presAssocID="{3F7B711A-99F2-4FBA-8DE6-6666AF4F7C87}" presName="composite" presStyleCnt="0"/>
      <dgm:spPr/>
    </dgm:pt>
    <dgm:pt modelId="{56C8C656-6AEE-4F07-AB8C-70841AD4465B}" type="pres">
      <dgm:prSet presAssocID="{3F7B711A-99F2-4FBA-8DE6-6666AF4F7C87}" presName="imgShp" presStyleLbl="fgImgPlace1" presStyleIdx="3" presStyleCnt="5"/>
      <dgm:spPr/>
    </dgm:pt>
    <dgm:pt modelId="{54572285-D66D-44A8-8304-63AB6FBF3C3B}" type="pres">
      <dgm:prSet presAssocID="{3F7B711A-99F2-4FBA-8DE6-6666AF4F7C87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CCCD1F6-6E74-469B-BD90-FD4DD9D90771}" type="pres">
      <dgm:prSet presAssocID="{D0452C76-5A9C-45A4-B90D-B00C12A81E7B}" presName="spacing" presStyleCnt="0"/>
      <dgm:spPr/>
    </dgm:pt>
    <dgm:pt modelId="{241D0CCC-D374-4199-BCA2-0C3CB8B16350}" type="pres">
      <dgm:prSet presAssocID="{F54B7D0F-34D2-4D9E-A77F-833CA0E30856}" presName="composite" presStyleCnt="0"/>
      <dgm:spPr/>
    </dgm:pt>
    <dgm:pt modelId="{92D10573-63C9-4C43-83D0-BEA28B610AB5}" type="pres">
      <dgm:prSet presAssocID="{F54B7D0F-34D2-4D9E-A77F-833CA0E30856}" presName="imgShp" presStyleLbl="fgImgPlace1" presStyleIdx="4" presStyleCnt="5"/>
      <dgm:spPr/>
    </dgm:pt>
    <dgm:pt modelId="{25069F0F-A089-4CE6-976B-B6F21E61184B}" type="pres">
      <dgm:prSet presAssocID="{F54B7D0F-34D2-4D9E-A77F-833CA0E30856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AFE1A67-362C-4CE0-A7D0-7E718F3F8202}" type="presOf" srcId="{3F7B711A-99F2-4FBA-8DE6-6666AF4F7C87}" destId="{54572285-D66D-44A8-8304-63AB6FBF3C3B}" srcOrd="0" destOrd="0" presId="urn:microsoft.com/office/officeart/2005/8/layout/vList3"/>
    <dgm:cxn modelId="{A4BD2E06-60F9-4643-8649-00CEEE54ED95}" srcId="{1FB7D4FC-5203-4D2B-8CDC-C2A32C2E4653}" destId="{3F7B711A-99F2-4FBA-8DE6-6666AF4F7C87}" srcOrd="3" destOrd="0" parTransId="{502046BC-803B-4611-8B16-547D7520BFB7}" sibTransId="{D0452C76-5A9C-45A4-B90D-B00C12A81E7B}"/>
    <dgm:cxn modelId="{2C91885D-3926-4D02-A53E-88391CB2605C}" srcId="{1FB7D4FC-5203-4D2B-8CDC-C2A32C2E4653}" destId="{C837676A-B356-461D-9231-EB8C394F07E7}" srcOrd="1" destOrd="0" parTransId="{1B1F6F6A-5D82-46C7-909F-391ADCB8D987}" sibTransId="{AD3CCCB6-2FDF-4941-96FB-FF5C83C07014}"/>
    <dgm:cxn modelId="{10F28828-4BB1-49C3-B20A-E566256CA319}" type="presOf" srcId="{9C041136-6AFC-4576-866D-ACD6D11BB611}" destId="{434E4E86-564D-4FE7-95BF-16A7D0DA93E3}" srcOrd="0" destOrd="0" presId="urn:microsoft.com/office/officeart/2005/8/layout/vList3"/>
    <dgm:cxn modelId="{E7E4209A-2129-4B0D-9F92-ABBE792B4A27}" type="presOf" srcId="{F54B7D0F-34D2-4D9E-A77F-833CA0E30856}" destId="{25069F0F-A089-4CE6-976B-B6F21E61184B}" srcOrd="0" destOrd="0" presId="urn:microsoft.com/office/officeart/2005/8/layout/vList3"/>
    <dgm:cxn modelId="{B0299C27-31B1-49CC-AAEE-D52588BA8B92}" type="presOf" srcId="{C837676A-B356-461D-9231-EB8C394F07E7}" destId="{2E4AAA8F-9AB7-41D9-A8AA-5460413F1F60}" srcOrd="0" destOrd="0" presId="urn:microsoft.com/office/officeart/2005/8/layout/vList3"/>
    <dgm:cxn modelId="{8EB9E26A-2679-45E1-B781-53B45D42D356}" type="presOf" srcId="{F07ABA88-CF22-4C90-9610-E3C7C739D6DF}" destId="{44BF0D9F-11AC-4A7F-ADCB-CD7543BAC73E}" srcOrd="0" destOrd="0" presId="urn:microsoft.com/office/officeart/2005/8/layout/vList3"/>
    <dgm:cxn modelId="{1B2E4753-6264-47BB-84CB-54FEB0C11DB5}" srcId="{1FB7D4FC-5203-4D2B-8CDC-C2A32C2E4653}" destId="{F07ABA88-CF22-4C90-9610-E3C7C739D6DF}" srcOrd="2" destOrd="0" parTransId="{F9161779-1F45-4214-8D3E-E293A3F7DA3B}" sibTransId="{DA551E19-93DF-4CEB-92A8-A7150CE92353}"/>
    <dgm:cxn modelId="{46348CC7-F138-4D66-A458-CA31C5A5E89C}" srcId="{1FB7D4FC-5203-4D2B-8CDC-C2A32C2E4653}" destId="{9C041136-6AFC-4576-866D-ACD6D11BB611}" srcOrd="0" destOrd="0" parTransId="{EFE70E82-BD13-4049-96F8-FE2DED87B5DC}" sibTransId="{F83AD9AF-213A-4AD5-9F11-637DCF22A32D}"/>
    <dgm:cxn modelId="{06262BC3-ABD4-46C6-B000-34897ED7E97B}" srcId="{1FB7D4FC-5203-4D2B-8CDC-C2A32C2E4653}" destId="{F54B7D0F-34D2-4D9E-A77F-833CA0E30856}" srcOrd="4" destOrd="0" parTransId="{0E415981-C5E0-41FB-9D86-971063D931B6}" sibTransId="{DA18961B-2709-4E7E-9E46-E0734A20C232}"/>
    <dgm:cxn modelId="{DF7B1FC0-2923-46A0-AEB0-AAD115C7938E}" type="presOf" srcId="{1FB7D4FC-5203-4D2B-8CDC-C2A32C2E4653}" destId="{95EAC298-ECA5-414A-9863-5001E1AB967E}" srcOrd="0" destOrd="0" presId="urn:microsoft.com/office/officeart/2005/8/layout/vList3"/>
    <dgm:cxn modelId="{69504DDD-22BB-4E29-B65D-44D518BA38D6}" type="presParOf" srcId="{95EAC298-ECA5-414A-9863-5001E1AB967E}" destId="{5D0E7FD5-98F3-4BAF-B2F4-6D551E16D00F}" srcOrd="0" destOrd="0" presId="urn:microsoft.com/office/officeart/2005/8/layout/vList3"/>
    <dgm:cxn modelId="{F456D558-D80F-4FB1-B7F4-C4C4EE08B8E2}" type="presParOf" srcId="{5D0E7FD5-98F3-4BAF-B2F4-6D551E16D00F}" destId="{EED4B161-8D00-41DC-8C12-EA74D0028B24}" srcOrd="0" destOrd="0" presId="urn:microsoft.com/office/officeart/2005/8/layout/vList3"/>
    <dgm:cxn modelId="{9D1C9528-ED52-46C3-991A-A90064921046}" type="presParOf" srcId="{5D0E7FD5-98F3-4BAF-B2F4-6D551E16D00F}" destId="{434E4E86-564D-4FE7-95BF-16A7D0DA93E3}" srcOrd="1" destOrd="0" presId="urn:microsoft.com/office/officeart/2005/8/layout/vList3"/>
    <dgm:cxn modelId="{5DC274B7-24C5-41D2-81D8-DAF0369D77DA}" type="presParOf" srcId="{95EAC298-ECA5-414A-9863-5001E1AB967E}" destId="{FEA850F1-C80C-46C2-B327-89B2FBB26E87}" srcOrd="1" destOrd="0" presId="urn:microsoft.com/office/officeart/2005/8/layout/vList3"/>
    <dgm:cxn modelId="{BF5DF3B3-146B-46FB-B504-048A8C3230F6}" type="presParOf" srcId="{95EAC298-ECA5-414A-9863-5001E1AB967E}" destId="{56D641D4-C3E5-4464-AB89-70B99A4C5656}" srcOrd="2" destOrd="0" presId="urn:microsoft.com/office/officeart/2005/8/layout/vList3"/>
    <dgm:cxn modelId="{4F68BF25-B7C1-4D72-BAE2-D62E542725B5}" type="presParOf" srcId="{56D641D4-C3E5-4464-AB89-70B99A4C5656}" destId="{190354F0-07A0-459D-9216-EDF80E36A4D3}" srcOrd="0" destOrd="0" presId="urn:microsoft.com/office/officeart/2005/8/layout/vList3"/>
    <dgm:cxn modelId="{56A2CA77-A958-4784-AEF2-E33D085A5A86}" type="presParOf" srcId="{56D641D4-C3E5-4464-AB89-70B99A4C5656}" destId="{2E4AAA8F-9AB7-41D9-A8AA-5460413F1F60}" srcOrd="1" destOrd="0" presId="urn:microsoft.com/office/officeart/2005/8/layout/vList3"/>
    <dgm:cxn modelId="{FAD9B538-A0D0-4765-B96A-E9DF21D40B76}" type="presParOf" srcId="{95EAC298-ECA5-414A-9863-5001E1AB967E}" destId="{3FFB84A8-3999-434C-BE1F-38CB9BC235EC}" srcOrd="3" destOrd="0" presId="urn:microsoft.com/office/officeart/2005/8/layout/vList3"/>
    <dgm:cxn modelId="{8A6F410A-2DE3-46F0-9EF6-61240F647C00}" type="presParOf" srcId="{95EAC298-ECA5-414A-9863-5001E1AB967E}" destId="{42F97793-354A-4A13-B626-3707603247C7}" srcOrd="4" destOrd="0" presId="urn:microsoft.com/office/officeart/2005/8/layout/vList3"/>
    <dgm:cxn modelId="{0F79D4C9-3088-4301-BF85-706CD87167C7}" type="presParOf" srcId="{42F97793-354A-4A13-B626-3707603247C7}" destId="{C26F9296-12C7-45A2-95BF-594977329419}" srcOrd="0" destOrd="0" presId="urn:microsoft.com/office/officeart/2005/8/layout/vList3"/>
    <dgm:cxn modelId="{887AA7F5-09CF-4141-A750-4991921F6988}" type="presParOf" srcId="{42F97793-354A-4A13-B626-3707603247C7}" destId="{44BF0D9F-11AC-4A7F-ADCB-CD7543BAC73E}" srcOrd="1" destOrd="0" presId="urn:microsoft.com/office/officeart/2005/8/layout/vList3"/>
    <dgm:cxn modelId="{9B116973-A60B-4CBB-B13B-8626198B3B9C}" type="presParOf" srcId="{95EAC298-ECA5-414A-9863-5001E1AB967E}" destId="{DFFABF98-A644-4523-8908-114B59EB5B1C}" srcOrd="5" destOrd="0" presId="urn:microsoft.com/office/officeart/2005/8/layout/vList3"/>
    <dgm:cxn modelId="{4EFA8AEC-DE69-484B-AA65-8205E0991007}" type="presParOf" srcId="{95EAC298-ECA5-414A-9863-5001E1AB967E}" destId="{46A76B79-BF87-4BEF-BE00-18B9EEFD7CAD}" srcOrd="6" destOrd="0" presId="urn:microsoft.com/office/officeart/2005/8/layout/vList3"/>
    <dgm:cxn modelId="{6B8BE4F5-6AC9-4277-9632-0EF345A1A0B1}" type="presParOf" srcId="{46A76B79-BF87-4BEF-BE00-18B9EEFD7CAD}" destId="{56C8C656-6AEE-4F07-AB8C-70841AD4465B}" srcOrd="0" destOrd="0" presId="urn:microsoft.com/office/officeart/2005/8/layout/vList3"/>
    <dgm:cxn modelId="{FCEA5C5B-6D13-4F4D-87BB-07DD1975529C}" type="presParOf" srcId="{46A76B79-BF87-4BEF-BE00-18B9EEFD7CAD}" destId="{54572285-D66D-44A8-8304-63AB6FBF3C3B}" srcOrd="1" destOrd="0" presId="urn:microsoft.com/office/officeart/2005/8/layout/vList3"/>
    <dgm:cxn modelId="{DF685329-CB77-48DF-8FB5-D20897DE542F}" type="presParOf" srcId="{95EAC298-ECA5-414A-9863-5001E1AB967E}" destId="{CCCCD1F6-6E74-469B-BD90-FD4DD9D90771}" srcOrd="7" destOrd="0" presId="urn:microsoft.com/office/officeart/2005/8/layout/vList3"/>
    <dgm:cxn modelId="{4C8D6438-5CD5-477D-B14E-03CF97AD6E7C}" type="presParOf" srcId="{95EAC298-ECA5-414A-9863-5001E1AB967E}" destId="{241D0CCC-D374-4199-BCA2-0C3CB8B16350}" srcOrd="8" destOrd="0" presId="urn:microsoft.com/office/officeart/2005/8/layout/vList3"/>
    <dgm:cxn modelId="{F17EDC8B-CB53-4CA2-AA35-C8F55862B331}" type="presParOf" srcId="{241D0CCC-D374-4199-BCA2-0C3CB8B16350}" destId="{92D10573-63C9-4C43-83D0-BEA28B610AB5}" srcOrd="0" destOrd="0" presId="urn:microsoft.com/office/officeart/2005/8/layout/vList3"/>
    <dgm:cxn modelId="{A08B2441-C45A-46A1-833D-756515F2E310}" type="presParOf" srcId="{241D0CCC-D374-4199-BCA2-0C3CB8B16350}" destId="{25069F0F-A089-4CE6-976B-B6F21E61184B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7B777E9-E5E6-4D98-97E1-78DF92DB021F}">
      <dsp:nvSpPr>
        <dsp:cNvPr id="0" name=""/>
        <dsp:cNvSpPr/>
      </dsp:nvSpPr>
      <dsp:spPr>
        <a:xfrm>
          <a:off x="-3800932" y="-583789"/>
          <a:ext cx="4530310" cy="4530310"/>
        </a:xfrm>
        <a:prstGeom prst="blockArc">
          <a:avLst>
            <a:gd name="adj1" fmla="val 18900000"/>
            <a:gd name="adj2" fmla="val 2700000"/>
            <a:gd name="adj3" fmla="val 477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1FEFBF3-DA7C-4F82-8ADE-20398B2A52F3}">
      <dsp:nvSpPr>
        <dsp:cNvPr id="0" name=""/>
        <dsp:cNvSpPr/>
      </dsp:nvSpPr>
      <dsp:spPr>
        <a:xfrm>
          <a:off x="382283" y="161632"/>
          <a:ext cx="5466479" cy="711111"/>
        </a:xfrm>
        <a:prstGeom prst="rect">
          <a:avLst/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9CDE">
              <a:shade val="80000"/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0640" tIns="33020" rIns="33020" bIns="33020" numCol="1" spcCol="1270" anchor="ctr" anchorCtr="0">
          <a:noAutofit/>
        </a:bodyPr>
        <a:lstStyle/>
        <a:p>
          <a:pPr marL="0" lvl="0" indent="0" algn="l" defTabSz="577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002060"/>
              </a:solidFill>
              <a:latin typeface="Arial" panose="020B0604020202020204"/>
              <a:ea typeface="+mn-ea"/>
              <a:cs typeface="Arial" panose="020B0604020202020204" pitchFamily="34" charset="0"/>
            </a:rPr>
            <a:t>база </a:t>
          </a:r>
          <a:r>
            <a:rPr lang="ru-RU" sz="1400" b="1" kern="1200" dirty="0" smtClean="0">
              <a:solidFill>
                <a:srgbClr val="002060"/>
              </a:solidFill>
              <a:latin typeface="Arial" panose="020B0604020202020204"/>
              <a:ea typeface="+mn-ea"/>
              <a:cs typeface="Arial" panose="020B0604020202020204" pitchFamily="34" charset="0"/>
            </a:rPr>
            <a:t>Единой национальной системой труда Министерства занятости и сокращения бедности и </a:t>
          </a:r>
          <a:r>
            <a:rPr lang="uz-Cyrl-UZ" sz="1400" b="1" kern="1200" dirty="0">
              <a:solidFill>
                <a:srgbClr val="002060"/>
              </a:solidFill>
              <a:latin typeface="Arial" panose="020B0604020202020204"/>
              <a:ea typeface="+mn-ea"/>
              <a:cs typeface="Arial" panose="020B0604020202020204" pitchFamily="34" charset="0"/>
            </a:rPr>
            <a:t>Информационная система </a:t>
          </a:r>
          <a:r>
            <a:rPr lang="uz-Cyrl-UZ" sz="1400" b="1" kern="1200" dirty="0" smtClean="0">
              <a:solidFill>
                <a:srgbClr val="002060"/>
              </a:solidFill>
              <a:latin typeface="Arial" panose="020B0604020202020204"/>
              <a:ea typeface="+mn-ea"/>
              <a:cs typeface="Arial" panose="020B0604020202020204" pitchFamily="34" charset="0"/>
            </a:rPr>
            <a:t>«</a:t>
          </a:r>
          <a:r>
            <a:rPr lang="uz-Cyrl-UZ" sz="1400" b="1" kern="1200" dirty="0">
              <a:solidFill>
                <a:srgbClr val="002060"/>
              </a:solidFill>
              <a:latin typeface="Arial" panose="020B0604020202020204"/>
              <a:ea typeface="+mn-ea"/>
              <a:cs typeface="Arial" panose="020B0604020202020204" pitchFamily="34" charset="0"/>
            </a:rPr>
            <a:t>Бандлик хизмати»</a:t>
          </a:r>
          <a:endParaRPr lang="ru-RU" sz="1400" b="1" kern="1200" dirty="0">
            <a:solidFill>
              <a:srgbClr val="002060"/>
            </a:solidFill>
            <a:latin typeface="Arial" panose="020B0604020202020204"/>
            <a:ea typeface="+mn-ea"/>
            <a:cs typeface="Arial" panose="020B0604020202020204" pitchFamily="34" charset="0"/>
          </a:endParaRPr>
        </a:p>
      </dsp:txBody>
      <dsp:txXfrm>
        <a:off x="382283" y="161632"/>
        <a:ext cx="5466479" cy="711111"/>
      </dsp:txXfrm>
    </dsp:sp>
    <dsp:sp modelId="{8CB57C14-DDD1-4738-9442-168AEF6BE86E}">
      <dsp:nvSpPr>
        <dsp:cNvPr id="0" name=""/>
        <dsp:cNvSpPr/>
      </dsp:nvSpPr>
      <dsp:spPr>
        <a:xfrm>
          <a:off x="58956" y="193861"/>
          <a:ext cx="646653" cy="6466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BE8497-B8D9-4A7C-B9D6-A788C89D63AE}">
      <dsp:nvSpPr>
        <dsp:cNvPr id="0" name=""/>
        <dsp:cNvSpPr/>
      </dsp:nvSpPr>
      <dsp:spPr>
        <a:xfrm>
          <a:off x="678876" y="1034645"/>
          <a:ext cx="5169886" cy="51732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0625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rgbClr val="002060"/>
              </a:solidFill>
              <a:cs typeface="Arial" panose="020B0604020202020204" pitchFamily="34" charset="0"/>
            </a:rPr>
            <a:t>база данных Государственного налогового комитета</a:t>
          </a:r>
          <a:endParaRPr lang="ru-RU" sz="1400" b="1" kern="1200" dirty="0">
            <a:solidFill>
              <a:srgbClr val="002060"/>
            </a:solidFill>
          </a:endParaRPr>
        </a:p>
      </dsp:txBody>
      <dsp:txXfrm>
        <a:off x="678876" y="1034645"/>
        <a:ext cx="5169886" cy="517322"/>
      </dsp:txXfrm>
    </dsp:sp>
    <dsp:sp modelId="{3CCEEAD3-209B-43A1-9A3B-1AFED42F8BD3}">
      <dsp:nvSpPr>
        <dsp:cNvPr id="0" name=""/>
        <dsp:cNvSpPr/>
      </dsp:nvSpPr>
      <dsp:spPr>
        <a:xfrm>
          <a:off x="355549" y="969979"/>
          <a:ext cx="646653" cy="6466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7E51D3E-15C7-4B1F-84AA-D91371767074}">
      <dsp:nvSpPr>
        <dsp:cNvPr id="0" name=""/>
        <dsp:cNvSpPr/>
      </dsp:nvSpPr>
      <dsp:spPr>
        <a:xfrm>
          <a:off x="678876" y="1810763"/>
          <a:ext cx="5169886" cy="51732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0625" tIns="35560" rIns="35560" bIns="3556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rgbClr val="002060"/>
              </a:solidFill>
              <a:cs typeface="Arial" panose="020B0604020202020204" pitchFamily="34" charset="0"/>
            </a:rPr>
            <a:t>база данных </a:t>
          </a:r>
          <a:r>
            <a:rPr lang="ru-RU" sz="1400" b="1" kern="1200" dirty="0" smtClean="0">
              <a:solidFill>
                <a:srgbClr val="002060"/>
              </a:solidFill>
              <a:cs typeface="Arial" panose="020B0604020202020204" pitchFamily="34" charset="0"/>
            </a:rPr>
            <a:t>Агентства статистики</a:t>
          </a:r>
          <a:endParaRPr lang="ru-RU" sz="1400" b="1" kern="1200" dirty="0">
            <a:solidFill>
              <a:srgbClr val="002060"/>
            </a:solidFill>
          </a:endParaRPr>
        </a:p>
      </dsp:txBody>
      <dsp:txXfrm>
        <a:off x="678876" y="1810763"/>
        <a:ext cx="5169886" cy="517322"/>
      </dsp:txXfrm>
    </dsp:sp>
    <dsp:sp modelId="{0928D3F9-A7AC-459E-BE92-F01C0E60A3D7}">
      <dsp:nvSpPr>
        <dsp:cNvPr id="0" name=""/>
        <dsp:cNvSpPr/>
      </dsp:nvSpPr>
      <dsp:spPr>
        <a:xfrm>
          <a:off x="355549" y="1746098"/>
          <a:ext cx="646653" cy="6466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66E7003-2FA3-4CDA-B24E-1A8DD773E0A3}">
      <dsp:nvSpPr>
        <dsp:cNvPr id="0" name=""/>
        <dsp:cNvSpPr/>
      </dsp:nvSpPr>
      <dsp:spPr>
        <a:xfrm>
          <a:off x="382283" y="2586881"/>
          <a:ext cx="5466479" cy="517322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0625" tIns="33020" rIns="33020" bIns="3302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b="1" kern="1200" dirty="0">
              <a:solidFill>
                <a:srgbClr val="002060"/>
              </a:solidFill>
              <a:cs typeface="Arial" panose="020B0604020202020204" pitchFamily="34" charset="0"/>
            </a:rPr>
            <a:t>база данных </a:t>
          </a:r>
          <a:r>
            <a:rPr lang="ru-RU" sz="1400" b="1" kern="1200" dirty="0">
              <a:solidFill>
                <a:srgbClr val="002060"/>
              </a:solidFill>
              <a:cs typeface="Arial" panose="020B0604020202020204" pitchFamily="34" charset="0"/>
            </a:rPr>
            <a:t>Торгово-промышленной</a:t>
          </a:r>
          <a:r>
            <a:rPr lang="ru-RU" sz="1300" b="1" kern="1200" dirty="0">
              <a:solidFill>
                <a:srgbClr val="002060"/>
              </a:solidFill>
              <a:cs typeface="Arial" panose="020B0604020202020204" pitchFamily="34" charset="0"/>
            </a:rPr>
            <a:t> палаты</a:t>
          </a:r>
          <a:endParaRPr lang="ru-RU" sz="1300" b="1" kern="1200" dirty="0">
            <a:solidFill>
              <a:srgbClr val="002060"/>
            </a:solidFill>
          </a:endParaRPr>
        </a:p>
      </dsp:txBody>
      <dsp:txXfrm>
        <a:off x="382283" y="2586881"/>
        <a:ext cx="5466479" cy="517322"/>
      </dsp:txXfrm>
    </dsp:sp>
    <dsp:sp modelId="{0AA08969-B326-4657-BE3C-04784F51CFB3}">
      <dsp:nvSpPr>
        <dsp:cNvPr id="0" name=""/>
        <dsp:cNvSpPr/>
      </dsp:nvSpPr>
      <dsp:spPr>
        <a:xfrm>
          <a:off x="58956" y="2522216"/>
          <a:ext cx="646653" cy="64665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4E4E86-564D-4FE7-95BF-16A7D0DA93E3}">
      <dsp:nvSpPr>
        <dsp:cNvPr id="0" name=""/>
        <dsp:cNvSpPr/>
      </dsp:nvSpPr>
      <dsp:spPr>
        <a:xfrm rot="10800000">
          <a:off x="1293218" y="472"/>
          <a:ext cx="4617913" cy="520240"/>
        </a:xfrm>
        <a:prstGeom prst="homePlat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12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rgbClr val="002060"/>
              </a:solidFill>
              <a:latin typeface="Arial" pitchFamily="34" charset="0"/>
              <a:ea typeface="ＭＳ Ｐゴシック" charset="0"/>
              <a:cs typeface="Arial" pitchFamily="34" charset="0"/>
              <a:sym typeface="Lato Black" charset="0"/>
            </a:rPr>
            <a:t>Электронная база по профессиям и специальностям</a:t>
          </a:r>
          <a:endParaRPr lang="ru-RU" sz="1400" kern="1200" dirty="0">
            <a:solidFill>
              <a:srgbClr val="002060"/>
            </a:solidFill>
          </a:endParaRPr>
        </a:p>
      </dsp:txBody>
      <dsp:txXfrm rot="10800000">
        <a:off x="1423278" y="472"/>
        <a:ext cx="4487853" cy="520240"/>
      </dsp:txXfrm>
    </dsp:sp>
    <dsp:sp modelId="{EED4B161-8D00-41DC-8C12-EA74D0028B24}">
      <dsp:nvSpPr>
        <dsp:cNvPr id="0" name=""/>
        <dsp:cNvSpPr/>
      </dsp:nvSpPr>
      <dsp:spPr>
        <a:xfrm>
          <a:off x="1033098" y="472"/>
          <a:ext cx="520240" cy="52024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4AAA8F-9AB7-41D9-A8AA-5460413F1F60}">
      <dsp:nvSpPr>
        <dsp:cNvPr id="0" name=""/>
        <dsp:cNvSpPr/>
      </dsp:nvSpPr>
      <dsp:spPr>
        <a:xfrm rot="10800000">
          <a:off x="1293218" y="676008"/>
          <a:ext cx="4617913" cy="520240"/>
        </a:xfrm>
        <a:prstGeom prst="homePlate">
          <a:avLst/>
        </a:prstGeom>
        <a:gradFill rotWithShape="0">
          <a:gsLst>
            <a:gs pos="0">
              <a:srgbClr val="FFFFFF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rgbClr>
            </a:gs>
            <a:gs pos="50000">
              <a:srgbClr val="FFFFFF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rgbClr>
            </a:gs>
            <a:gs pos="100000">
              <a:srgbClr val="FFFFFF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rgb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12" tIns="57150" rIns="106680" bIns="57150" numCol="1" spcCol="1270" anchor="ctr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rgbClr val="002060"/>
              </a:solidFill>
              <a:latin typeface="Arial" pitchFamily="34" charset="0"/>
              <a:ea typeface="ＭＳ Ｐゴシック" charset="0"/>
              <a:cs typeface="Arial" pitchFamily="34" charset="0"/>
            </a:rPr>
            <a:t>Формируется потребность в кадрах среднего звена</a:t>
          </a:r>
        </a:p>
      </dsp:txBody>
      <dsp:txXfrm rot="10800000">
        <a:off x="1423278" y="676008"/>
        <a:ext cx="4487853" cy="520240"/>
      </dsp:txXfrm>
    </dsp:sp>
    <dsp:sp modelId="{190354F0-07A0-459D-9216-EDF80E36A4D3}">
      <dsp:nvSpPr>
        <dsp:cNvPr id="0" name=""/>
        <dsp:cNvSpPr/>
      </dsp:nvSpPr>
      <dsp:spPr>
        <a:xfrm>
          <a:off x="1033098" y="676008"/>
          <a:ext cx="520240" cy="52024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BF0D9F-11AC-4A7F-ADCB-CD7543BAC73E}">
      <dsp:nvSpPr>
        <dsp:cNvPr id="0" name=""/>
        <dsp:cNvSpPr/>
      </dsp:nvSpPr>
      <dsp:spPr>
        <a:xfrm rot="10800000">
          <a:off x="1293218" y="1351545"/>
          <a:ext cx="4617913" cy="520240"/>
        </a:xfrm>
        <a:prstGeom prst="homePlat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12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rgbClr val="002060"/>
              </a:solidFill>
              <a:latin typeface="Arial" pitchFamily="34" charset="0"/>
              <a:ea typeface="ＭＳ Ｐゴシック" charset="0"/>
              <a:cs typeface="Arial" pitchFamily="34" charset="0"/>
              <a:sym typeface="Lato Black" charset="0"/>
            </a:rPr>
            <a:t>Информация о вакансии</a:t>
          </a:r>
          <a:endParaRPr lang="ru-RU" sz="1400" kern="1200" dirty="0">
            <a:solidFill>
              <a:srgbClr val="002060"/>
            </a:solidFill>
          </a:endParaRPr>
        </a:p>
      </dsp:txBody>
      <dsp:txXfrm rot="10800000">
        <a:off x="1423278" y="1351545"/>
        <a:ext cx="4487853" cy="520240"/>
      </dsp:txXfrm>
    </dsp:sp>
    <dsp:sp modelId="{C26F9296-12C7-45A2-95BF-594977329419}">
      <dsp:nvSpPr>
        <dsp:cNvPr id="0" name=""/>
        <dsp:cNvSpPr/>
      </dsp:nvSpPr>
      <dsp:spPr>
        <a:xfrm>
          <a:off x="1033098" y="1351545"/>
          <a:ext cx="520240" cy="52024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572285-D66D-44A8-8304-63AB6FBF3C3B}">
      <dsp:nvSpPr>
        <dsp:cNvPr id="0" name=""/>
        <dsp:cNvSpPr/>
      </dsp:nvSpPr>
      <dsp:spPr>
        <a:xfrm rot="10800000">
          <a:off x="1293218" y="2027082"/>
          <a:ext cx="4617913" cy="520240"/>
        </a:xfrm>
        <a:prstGeom prst="homePlat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12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rgbClr val="002060"/>
              </a:solidFill>
              <a:latin typeface="Arial" pitchFamily="34" charset="0"/>
              <a:ea typeface="ＭＳ Ｐゴシック" charset="0"/>
              <a:cs typeface="Arial" pitchFamily="34" charset="0"/>
              <a:sym typeface="Lato Black" charset="0"/>
            </a:rPr>
            <a:t>Отслеживание персонала, выходящего на рынок труда для работодателей</a:t>
          </a:r>
          <a:endParaRPr lang="ru-RU" sz="1400" kern="1200" dirty="0">
            <a:solidFill>
              <a:srgbClr val="002060"/>
            </a:solidFill>
          </a:endParaRPr>
        </a:p>
      </dsp:txBody>
      <dsp:txXfrm rot="10800000">
        <a:off x="1423278" y="2027082"/>
        <a:ext cx="4487853" cy="520240"/>
      </dsp:txXfrm>
    </dsp:sp>
    <dsp:sp modelId="{56C8C656-6AEE-4F07-AB8C-70841AD4465B}">
      <dsp:nvSpPr>
        <dsp:cNvPr id="0" name=""/>
        <dsp:cNvSpPr/>
      </dsp:nvSpPr>
      <dsp:spPr>
        <a:xfrm>
          <a:off x="1033098" y="2027082"/>
          <a:ext cx="520240" cy="52024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5069F0F-A089-4CE6-976B-B6F21E61184B}">
      <dsp:nvSpPr>
        <dsp:cNvPr id="0" name=""/>
        <dsp:cNvSpPr/>
      </dsp:nvSpPr>
      <dsp:spPr>
        <a:xfrm rot="10800000">
          <a:off x="1293218" y="2702618"/>
          <a:ext cx="4617913" cy="520240"/>
        </a:xfrm>
        <a:prstGeom prst="homePlate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l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29412" tIns="53340" rIns="99568" bIns="5334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>
              <a:solidFill>
                <a:srgbClr val="002060"/>
              </a:solidFill>
              <a:latin typeface="Arial" pitchFamily="34" charset="0"/>
              <a:ea typeface="ＭＳ Ｐゴシック" charset="0"/>
              <a:cs typeface="Arial" pitchFamily="34" charset="0"/>
              <a:sym typeface="Lato Black" charset="0"/>
            </a:rPr>
            <a:t>Мониторинг занятости</a:t>
          </a:r>
          <a:endParaRPr lang="ru-RU" sz="1400" kern="1200" dirty="0">
            <a:solidFill>
              <a:srgbClr val="002060"/>
            </a:solidFill>
          </a:endParaRPr>
        </a:p>
      </dsp:txBody>
      <dsp:txXfrm rot="10800000">
        <a:off x="1423278" y="2702618"/>
        <a:ext cx="4487853" cy="520240"/>
      </dsp:txXfrm>
    </dsp:sp>
    <dsp:sp modelId="{92D10573-63C9-4C43-83D0-BEA28B610AB5}">
      <dsp:nvSpPr>
        <dsp:cNvPr id="0" name=""/>
        <dsp:cNvSpPr/>
      </dsp:nvSpPr>
      <dsp:spPr>
        <a:xfrm>
          <a:off x="1033098" y="2702618"/>
          <a:ext cx="520240" cy="520240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matte">
          <a:bevelT w="50800" h="190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5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DE3C1-FC05-4584-8C15-2C060E67496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5ED42CF-0C77-4789-B1C3-36B2E454534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/>
            </a:lvl1pPr>
          </a:lstStyle>
          <a:p>
            <a:pPr>
              <a:defRPr/>
            </a:pPr>
            <a:fld id="{61DD7D28-8CD3-4B11-9DB1-AFF750048281}" type="datetimeFigureOut">
              <a:rPr lang="en-US"/>
              <a:pPr>
                <a:defRPr/>
              </a:pPr>
              <a:t>4/17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365B49-5465-4ED7-8531-4B727C50C4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75D1052-9392-4CDB-9901-C68BC8CD577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5E2BDEE5-1B20-4728-8EEB-330B4EFE561B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custDataLst>
      <p:tags r:id="rId2"/>
    </p:custData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0679394-EF25-4D5E-B962-BF4AB674A90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B965EB-41CA-4A45-90C7-56E29AA69A3F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C1A6CBC0-E0F5-4105-9C0E-E79DC680F0FD}" type="datetimeFigureOut">
              <a:rPr lang="en-US"/>
              <a:pPr>
                <a:defRPr/>
              </a:pPr>
              <a:t>4/17/2023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4F593290-9A88-461A-A936-A133231EC5E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F9E04335-2F90-49D9-A0F5-9AE111162DB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A81BD3-3189-4943-B472-FC015718DE8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F69948-51ED-4800-A325-96326EF31B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0BD87554-CF47-4092-B66B-14EEB29D0D0E}" type="slidenum">
              <a:rPr lang="en-US" altLang="ru-RU"/>
              <a:pPr/>
              <a:t>‹#›</a:t>
            </a:fld>
            <a:endParaRPr lang="en-US" alt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>
            <a:extLst>
              <a:ext uri="{FF2B5EF4-FFF2-40B4-BE49-F238E27FC236}">
                <a16:creationId xmlns:a16="http://schemas.microsoft.com/office/drawing/2014/main" id="{96C47EDC-635C-4B5C-ABF4-78FE8D29AFB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Заметки 2">
            <a:extLst>
              <a:ext uri="{FF2B5EF4-FFF2-40B4-BE49-F238E27FC236}">
                <a16:creationId xmlns:a16="http://schemas.microsoft.com/office/drawing/2014/main" id="{510A07B3-A0EA-4096-A7D2-1F8DA3A5048A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34820" name="Номер слайда 3">
            <a:extLst>
              <a:ext uri="{FF2B5EF4-FFF2-40B4-BE49-F238E27FC236}">
                <a16:creationId xmlns:a16="http://schemas.microsoft.com/office/drawing/2014/main" id="{DFB931A7-2B7C-47C4-95F3-8011FE1A8BE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4775860-166D-4E75-864B-8072547A3767}" type="slidenum">
              <a:rPr lang="en-US" altLang="ru-RU"/>
              <a:pPr/>
              <a:t>3</a:t>
            </a:fld>
            <a:endParaRPr lang="en-US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>
            <a:extLst>
              <a:ext uri="{FF2B5EF4-FFF2-40B4-BE49-F238E27FC236}">
                <a16:creationId xmlns:a16="http://schemas.microsoft.com/office/drawing/2014/main" id="{C9B84C9C-F47A-40F3-A0A5-B0452F02FCF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>
            <a:extLst>
              <a:ext uri="{FF2B5EF4-FFF2-40B4-BE49-F238E27FC236}">
                <a16:creationId xmlns:a16="http://schemas.microsoft.com/office/drawing/2014/main" id="{6DD4EE89-E239-48DD-8CD8-5DE3CAB2E74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36868" name="Номер слайда 3">
            <a:extLst>
              <a:ext uri="{FF2B5EF4-FFF2-40B4-BE49-F238E27FC236}">
                <a16:creationId xmlns:a16="http://schemas.microsoft.com/office/drawing/2014/main" id="{FBF0397B-7113-477B-86BA-3AD49747E5F8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92171E00-D1C2-4CE8-8E95-EE149B6CE2AB}" type="slidenum">
              <a:rPr lang="en-US" altLang="ru-RU"/>
              <a:pPr/>
              <a:t>4</a:t>
            </a:fld>
            <a:endParaRPr lang="en-US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>
            <a:extLst>
              <a:ext uri="{FF2B5EF4-FFF2-40B4-BE49-F238E27FC236}">
                <a16:creationId xmlns:a16="http://schemas.microsoft.com/office/drawing/2014/main" id="{8C0873C8-8BA0-4A35-B609-534753BB73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525" y="2708275"/>
            <a:ext cx="4319588" cy="244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6">
            <a:extLst>
              <a:ext uri="{FF2B5EF4-FFF2-40B4-BE49-F238E27FC236}">
                <a16:creationId xmlns:a16="http://schemas.microsoft.com/office/drawing/2014/main" id="{94D48533-FD01-43AA-8D20-E1970C215D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550" y="250825"/>
            <a:ext cx="1282700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Graphic 7">
            <a:extLst>
              <a:ext uri="{FF2B5EF4-FFF2-40B4-BE49-F238E27FC236}">
                <a16:creationId xmlns:a16="http://schemas.microsoft.com/office/drawing/2014/main" id="{1A3E7BE2-7619-4498-99F5-C6290233742B}"/>
              </a:ext>
            </a:extLst>
          </p:cNvPr>
          <p:cNvPicPr>
            <a:picLocks noChangeAspect="1"/>
          </p:cNvPicPr>
          <p:nvPr/>
        </p:nvPicPr>
        <p:blipFill>
          <a:blip r:embed="rId4" cstate="hqprint"/>
          <a:stretch>
            <a:fillRect/>
          </a:stretch>
        </p:blipFill>
        <p:spPr>
          <a:xfrm>
            <a:off x="627063" y="334963"/>
            <a:ext cx="1668462" cy="1008062"/>
          </a:xfrm>
          <a:prstGeom prst="rect">
            <a:avLst/>
          </a:prstGeom>
        </p:spPr>
      </p:pic>
      <p:sp>
        <p:nvSpPr>
          <p:cNvPr id="12" name="Freeform: Shape 17">
            <a:extLst>
              <a:ext uri="{FF2B5EF4-FFF2-40B4-BE49-F238E27FC236}">
                <a16:creationId xmlns:a16="http://schemas.microsoft.com/office/drawing/2014/main" id="{F7215AAD-60E3-4956-AA65-E5A704E0864B}"/>
              </a:ext>
            </a:extLst>
          </p:cNvPr>
          <p:cNvSpPr>
            <a:spLocks/>
          </p:cNvSpPr>
          <p:nvPr/>
        </p:nvSpPr>
        <p:spPr bwMode="auto">
          <a:xfrm>
            <a:off x="0" y="3068638"/>
            <a:ext cx="588963" cy="2701925"/>
          </a:xfrm>
          <a:custGeom>
            <a:avLst/>
            <a:gdLst>
              <a:gd name="T0" fmla="*/ 481847 w 589402"/>
              <a:gd name="T1" fmla="*/ 32 h 2701735"/>
              <a:gd name="T2" fmla="*/ 589402 w 589402"/>
              <a:gd name="T3" fmla="*/ 177354 h 2701735"/>
              <a:gd name="T4" fmla="*/ 589402 w 589402"/>
              <a:gd name="T5" fmla="*/ 1796558 h 2701735"/>
              <a:gd name="T6" fmla="*/ 345095 w 589402"/>
              <a:gd name="T7" fmla="*/ 2370144 h 2701735"/>
              <a:gd name="T8" fmla="*/ 0 w 589402"/>
              <a:gd name="T9" fmla="*/ 2701735 h 2701735"/>
              <a:gd name="T10" fmla="*/ 0 w 589402"/>
              <a:gd name="T11" fmla="*/ 406207 h 2701735"/>
              <a:gd name="T12" fmla="*/ 345324 w 589402"/>
              <a:gd name="T13" fmla="*/ 73502 h 2701735"/>
              <a:gd name="T14" fmla="*/ 481847 w 589402"/>
              <a:gd name="T15" fmla="*/ 32 h 2701735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pic>
        <p:nvPicPr>
          <p:cNvPr id="13" name="Graphic 2">
            <a:extLst>
              <a:ext uri="{FF2B5EF4-FFF2-40B4-BE49-F238E27FC236}">
                <a16:creationId xmlns:a16="http://schemas.microsoft.com/office/drawing/2014/main" id="{9C797132-C368-4A35-841B-876DE8866CC1}"/>
              </a:ext>
            </a:extLst>
          </p:cNvPr>
          <p:cNvPicPr>
            <a:picLocks noChangeAspect="1"/>
          </p:cNvPicPr>
          <p:nvPr/>
        </p:nvPicPr>
        <p:blipFill>
          <a:blip r:embed="rId5" cstate="hqprint"/>
          <a:stretch>
            <a:fillRect/>
          </a:stretch>
        </p:blipFill>
        <p:spPr>
          <a:xfrm>
            <a:off x="6581775" y="5351463"/>
            <a:ext cx="592138" cy="395287"/>
          </a:xfrm>
          <a:prstGeom prst="rect">
            <a:avLst/>
          </a:prstGeom>
        </p:spPr>
      </p:pic>
      <p:sp>
        <p:nvSpPr>
          <p:cNvPr id="40" name="Picture Placeholder 39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rtlCol="0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42" name="Picture Placeholder 41"/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rtlCol="0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27" name="Title 1"/>
          <p:cNvSpPr>
            <a:spLocks noGrp="1"/>
          </p:cNvSpPr>
          <p:nvPr>
            <p:ph type="title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130" name="Text Placeholder 129"/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1" name="Text Placeholder 130"/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028755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Text Placeholder 129"/>
          <p:cNvSpPr>
            <a:spLocks noGrp="1"/>
          </p:cNvSpPr>
          <p:nvPr>
            <p:ph type="body" sz="quarter" idx="18"/>
          </p:nvPr>
        </p:nvSpPr>
        <p:spPr>
          <a:xfrm>
            <a:off x="8962621" y="550872"/>
            <a:ext cx="3229379" cy="6307128"/>
          </a:xfrm>
          <a:custGeom>
            <a:avLst/>
            <a:gdLst>
              <a:gd name="connsiteX0" fmla="*/ 3229379 w 3229379"/>
              <a:gd name="connsiteY0" fmla="*/ 0 h 6307128"/>
              <a:gd name="connsiteX1" fmla="*/ 3229379 w 3229379"/>
              <a:gd name="connsiteY1" fmla="*/ 3598208 h 6307128"/>
              <a:gd name="connsiteX2" fmla="*/ 3229379 w 3229379"/>
              <a:gd name="connsiteY2" fmla="*/ 3808777 h 6307128"/>
              <a:gd name="connsiteX3" fmla="*/ 3229379 w 3229379"/>
              <a:gd name="connsiteY3" fmla="*/ 6307128 h 6307128"/>
              <a:gd name="connsiteX4" fmla="*/ 636271 w 3229379"/>
              <a:gd name="connsiteY4" fmla="*/ 6307128 h 6307128"/>
              <a:gd name="connsiteX5" fmla="*/ 1 w 3229379"/>
              <a:gd name="connsiteY5" fmla="*/ 6307128 h 6307128"/>
              <a:gd name="connsiteX6" fmla="*/ 0 w 3229379"/>
              <a:gd name="connsiteY6" fmla="*/ 6307128 h 6307128"/>
              <a:gd name="connsiteX7" fmla="*/ 0 w 3229379"/>
              <a:gd name="connsiteY7" fmla="*/ 3598208 h 6307128"/>
              <a:gd name="connsiteX8" fmla="*/ 4610 w 3229379"/>
              <a:gd name="connsiteY8" fmla="*/ 3598208 h 6307128"/>
              <a:gd name="connsiteX9" fmla="*/ 8249 w 3229379"/>
              <a:gd name="connsiteY9" fmla="*/ 3544634 h 6307128"/>
              <a:gd name="connsiteX10" fmla="*/ 405979 w 3229379"/>
              <a:gd name="connsiteY10" fmla="*/ 2712911 h 63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29379" h="6307128">
                <a:moveTo>
                  <a:pt x="3229379" y="0"/>
                </a:moveTo>
                <a:lnTo>
                  <a:pt x="3229379" y="3598208"/>
                </a:lnTo>
                <a:lnTo>
                  <a:pt x="3229379" y="3808777"/>
                </a:lnTo>
                <a:lnTo>
                  <a:pt x="3229379" y="6307128"/>
                </a:lnTo>
                <a:lnTo>
                  <a:pt x="636271" y="6307128"/>
                </a:lnTo>
                <a:lnTo>
                  <a:pt x="1" y="6307128"/>
                </a:lnTo>
                <a:lnTo>
                  <a:pt x="0" y="6307128"/>
                </a:lnTo>
                <a:lnTo>
                  <a:pt x="0" y="3598208"/>
                </a:lnTo>
                <a:lnTo>
                  <a:pt x="4610" y="3598208"/>
                </a:lnTo>
                <a:lnTo>
                  <a:pt x="8249" y="3544634"/>
                </a:lnTo>
                <a:cubicBezTo>
                  <a:pt x="46104" y="3251619"/>
                  <a:pt x="209785" y="2901412"/>
                  <a:pt x="405979" y="2712911"/>
                </a:cubicBez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3"/>
          </p:nvPr>
        </p:nvSpPr>
        <p:spPr>
          <a:xfrm>
            <a:off x="9707532" y="4401248"/>
            <a:ext cx="2484468" cy="2456753"/>
          </a:xfrm>
          <a:custGeom>
            <a:avLst/>
            <a:gdLst>
              <a:gd name="connsiteX0" fmla="*/ 2484468 w 2484468"/>
              <a:gd name="connsiteY0" fmla="*/ 0 h 2456753"/>
              <a:gd name="connsiteX1" fmla="*/ 2484468 w 2484468"/>
              <a:gd name="connsiteY1" fmla="*/ 2220567 h 2456753"/>
              <a:gd name="connsiteX2" fmla="*/ 2239324 w 2484468"/>
              <a:gd name="connsiteY2" fmla="*/ 2456753 h 2456753"/>
              <a:gd name="connsiteX3" fmla="*/ 0 w 2484468"/>
              <a:gd name="connsiteY3" fmla="*/ 2456753 h 2456753"/>
              <a:gd name="connsiteX4" fmla="*/ 46749 w 2484468"/>
              <a:gd name="connsiteY4" fmla="*/ 2368128 h 2456753"/>
              <a:gd name="connsiteX5" fmla="*/ 138956 w 2484468"/>
              <a:gd name="connsiteY5" fmla="*/ 2253725 h 245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4468" h="2456753">
                <a:moveTo>
                  <a:pt x="2484468" y="0"/>
                </a:moveTo>
                <a:lnTo>
                  <a:pt x="2484468" y="2220567"/>
                </a:lnTo>
                <a:lnTo>
                  <a:pt x="2239324" y="2456753"/>
                </a:lnTo>
                <a:lnTo>
                  <a:pt x="0" y="2456753"/>
                </a:lnTo>
                <a:lnTo>
                  <a:pt x="46749" y="2368128"/>
                </a:lnTo>
                <a:cubicBezTo>
                  <a:pt x="75089" y="2324278"/>
                  <a:pt x="106248" y="2285150"/>
                  <a:pt x="138956" y="22537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4"/>
          </p:nvPr>
        </p:nvSpPr>
        <p:spPr>
          <a:xfrm>
            <a:off x="8474709" y="260208"/>
            <a:ext cx="3456388" cy="5010292"/>
          </a:xfrm>
          <a:custGeom>
            <a:avLst/>
            <a:gdLst>
              <a:gd name="connsiteX0" fmla="*/ 103350 w 3456388"/>
              <a:gd name="connsiteY0" fmla="*/ 29 h 5010292"/>
              <a:gd name="connsiteX1" fmla="*/ 235548 w 3456388"/>
              <a:gd name="connsiteY1" fmla="*/ 71195 h 5010292"/>
              <a:gd name="connsiteX2" fmla="*/ 3219504 w 3456388"/>
              <a:gd name="connsiteY2" fmla="*/ 2938380 h 5010292"/>
              <a:gd name="connsiteX3" fmla="*/ 3456388 w 3456388"/>
              <a:gd name="connsiteY3" fmla="*/ 3494538 h 5010292"/>
              <a:gd name="connsiteX4" fmla="*/ 3456388 w 3456388"/>
              <a:gd name="connsiteY4" fmla="*/ 5010292 h 5010292"/>
              <a:gd name="connsiteX5" fmla="*/ 3058902 w 3456388"/>
              <a:gd name="connsiteY5" fmla="*/ 5010292 h 5010292"/>
              <a:gd name="connsiteX6" fmla="*/ 244256 w 3456388"/>
              <a:gd name="connsiteY6" fmla="*/ 2298498 h 5010292"/>
              <a:gd name="connsiteX7" fmla="*/ 6258 w 3456388"/>
              <a:gd name="connsiteY7" fmla="*/ 1742123 h 5010292"/>
              <a:gd name="connsiteX8" fmla="*/ 4 w 3456388"/>
              <a:gd name="connsiteY8" fmla="*/ 172114 h 5010292"/>
              <a:gd name="connsiteX9" fmla="*/ 103350 w 3456388"/>
              <a:gd name="connsiteY9" fmla="*/ 29 h 501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56388" h="5010292">
                <a:moveTo>
                  <a:pt x="103350" y="29"/>
                </a:moveTo>
                <a:cubicBezTo>
                  <a:pt x="141003" y="941"/>
                  <a:pt x="186486" y="24059"/>
                  <a:pt x="235548" y="71195"/>
                </a:cubicBezTo>
                <a:lnTo>
                  <a:pt x="3219504" y="2938380"/>
                </a:lnTo>
                <a:cubicBezTo>
                  <a:pt x="3350335" y="3064081"/>
                  <a:pt x="3456388" y="3313019"/>
                  <a:pt x="3456388" y="3494538"/>
                </a:cubicBezTo>
                <a:lnTo>
                  <a:pt x="3456388" y="5010292"/>
                </a:lnTo>
                <a:lnTo>
                  <a:pt x="3058902" y="5010292"/>
                </a:lnTo>
                <a:lnTo>
                  <a:pt x="244256" y="2298498"/>
                </a:lnTo>
                <a:cubicBezTo>
                  <a:pt x="113647" y="2172580"/>
                  <a:pt x="6258" y="1923637"/>
                  <a:pt x="6258" y="1742123"/>
                </a:cubicBezTo>
                <a:lnTo>
                  <a:pt x="4" y="172114"/>
                </a:lnTo>
                <a:cubicBezTo>
                  <a:pt x="-415" y="58667"/>
                  <a:pt x="40594" y="-1492"/>
                  <a:pt x="103350" y="2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2"/>
          </p:nvPr>
        </p:nvSpPr>
        <p:spPr>
          <a:xfrm>
            <a:off x="7129317" y="2749082"/>
            <a:ext cx="4032451" cy="4108918"/>
          </a:xfrm>
          <a:custGeom>
            <a:avLst/>
            <a:gdLst>
              <a:gd name="connsiteX0" fmla="*/ 3911878 w 4032451"/>
              <a:gd name="connsiteY0" fmla="*/ 33 h 4108918"/>
              <a:gd name="connsiteX1" fmla="*/ 4032448 w 4032451"/>
              <a:gd name="connsiteY1" fmla="*/ 200799 h 4108918"/>
              <a:gd name="connsiteX2" fmla="*/ 4025153 w 4032451"/>
              <a:gd name="connsiteY2" fmla="*/ 2032476 h 4108918"/>
              <a:gd name="connsiteX3" fmla="*/ 3747489 w 4032451"/>
              <a:gd name="connsiteY3" fmla="*/ 2681580 h 4108918"/>
              <a:gd name="connsiteX4" fmla="*/ 2266015 w 4032451"/>
              <a:gd name="connsiteY4" fmla="*/ 4108918 h 4108918"/>
              <a:gd name="connsiteX5" fmla="*/ 0 w 4032451"/>
              <a:gd name="connsiteY5" fmla="*/ 4108918 h 4108918"/>
              <a:gd name="connsiteX6" fmla="*/ 0 w 4032451"/>
              <a:gd name="connsiteY6" fmla="*/ 4076960 h 4108918"/>
              <a:gd name="connsiteX7" fmla="*/ 276365 w 4032451"/>
              <a:gd name="connsiteY7" fmla="*/ 3428109 h 4108918"/>
              <a:gd name="connsiteX8" fmla="*/ 3757647 w 4032451"/>
              <a:gd name="connsiteY8" fmla="*/ 83061 h 4108918"/>
              <a:gd name="connsiteX9" fmla="*/ 3911878 w 4032451"/>
              <a:gd name="connsiteY9" fmla="*/ 33 h 4108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2451" h="4108918">
                <a:moveTo>
                  <a:pt x="3911878" y="33"/>
                </a:moveTo>
                <a:cubicBezTo>
                  <a:pt x="3985094" y="-1741"/>
                  <a:pt x="4032937" y="68445"/>
                  <a:pt x="4032448" y="200799"/>
                </a:cubicBezTo>
                <a:lnTo>
                  <a:pt x="4025153" y="2032476"/>
                </a:lnTo>
                <a:cubicBezTo>
                  <a:pt x="4025153" y="2244242"/>
                  <a:pt x="3899866" y="2534676"/>
                  <a:pt x="3747489" y="2681580"/>
                </a:cubicBezTo>
                <a:lnTo>
                  <a:pt x="2266015" y="4108918"/>
                </a:lnTo>
                <a:lnTo>
                  <a:pt x="0" y="4108918"/>
                </a:lnTo>
                <a:lnTo>
                  <a:pt x="0" y="4076960"/>
                </a:lnTo>
                <a:cubicBezTo>
                  <a:pt x="0" y="3865188"/>
                  <a:pt x="123729" y="3574760"/>
                  <a:pt x="276365" y="3428109"/>
                </a:cubicBezTo>
                <a:lnTo>
                  <a:pt x="3757647" y="83061"/>
                </a:lnTo>
                <a:cubicBezTo>
                  <a:pt x="3814886" y="28069"/>
                  <a:pt x="3867949" y="1098"/>
                  <a:pt x="3911878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26" name="Text Placeholder 125"/>
          <p:cNvSpPr>
            <a:spLocks noGrp="1"/>
          </p:cNvSpPr>
          <p:nvPr>
            <p:ph type="body" sz="quarter" idx="16"/>
          </p:nvPr>
        </p:nvSpPr>
        <p:spPr>
          <a:xfrm>
            <a:off x="2" y="909496"/>
            <a:ext cx="2870583" cy="5948505"/>
          </a:xfrm>
          <a:custGeom>
            <a:avLst/>
            <a:gdLst>
              <a:gd name="connsiteX0" fmla="*/ 2685589 w 2870583"/>
              <a:gd name="connsiteY0" fmla="*/ 55 h 5948505"/>
              <a:gd name="connsiteX1" fmla="*/ 2870583 w 2870583"/>
              <a:gd name="connsiteY1" fmla="*/ 305049 h 5948505"/>
              <a:gd name="connsiteX2" fmla="*/ 2870583 w 2870583"/>
              <a:gd name="connsiteY2" fmla="*/ 3090079 h 5948505"/>
              <a:gd name="connsiteX3" fmla="*/ 2450374 w 2870583"/>
              <a:gd name="connsiteY3" fmla="*/ 4076647 h 5948505"/>
              <a:gd name="connsiteX4" fmla="*/ 502282 w 2870583"/>
              <a:gd name="connsiteY4" fmla="*/ 5948505 h 5948505"/>
              <a:gd name="connsiteX5" fmla="*/ 0 w 2870583"/>
              <a:gd name="connsiteY5" fmla="*/ 5948505 h 5948505"/>
              <a:gd name="connsiteX6" fmla="*/ 0 w 2870583"/>
              <a:gd name="connsiteY6" fmla="*/ 2487636 h 5948505"/>
              <a:gd name="connsiteX7" fmla="*/ 2450768 w 2870583"/>
              <a:gd name="connsiteY7" fmla="*/ 126424 h 5948505"/>
              <a:gd name="connsiteX8" fmla="*/ 2685589 w 2870583"/>
              <a:gd name="connsiteY8" fmla="*/ 55 h 5948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0583" h="5948505">
                <a:moveTo>
                  <a:pt x="2685589" y="55"/>
                </a:moveTo>
                <a:cubicBezTo>
                  <a:pt x="2797249" y="-2761"/>
                  <a:pt x="2870583" y="103801"/>
                  <a:pt x="2870583" y="305049"/>
                </a:cubicBezTo>
                <a:lnTo>
                  <a:pt x="2870583" y="3090079"/>
                </a:lnTo>
                <a:cubicBezTo>
                  <a:pt x="2870583" y="3412076"/>
                  <a:pt x="2682455" y="3853667"/>
                  <a:pt x="2450374" y="4076647"/>
                </a:cubicBezTo>
                <a:lnTo>
                  <a:pt x="502282" y="5948505"/>
                </a:lnTo>
                <a:lnTo>
                  <a:pt x="0" y="5948505"/>
                </a:lnTo>
                <a:lnTo>
                  <a:pt x="0" y="2487636"/>
                </a:lnTo>
                <a:lnTo>
                  <a:pt x="2450768" y="126424"/>
                </a:lnTo>
                <a:cubicBezTo>
                  <a:pt x="2537798" y="42809"/>
                  <a:pt x="2618592" y="1744"/>
                  <a:pt x="2685589" y="55"/>
                </a:cubicBezTo>
                <a:close/>
              </a:path>
            </a:pathLst>
          </a:custGeom>
          <a:solidFill>
            <a:srgbClr val="CBD300">
              <a:alpha val="2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CBD300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7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1118004" y="1764973"/>
            <a:ext cx="7085111" cy="202837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28" name="Title 6"/>
          <p:cNvSpPr>
            <a:spLocks noGrp="1"/>
          </p:cNvSpPr>
          <p:nvPr>
            <p:ph type="title"/>
          </p:nvPr>
        </p:nvSpPr>
        <p:spPr>
          <a:xfrm>
            <a:off x="1118439" y="332657"/>
            <a:ext cx="7084676" cy="126248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1"/>
          </p:nvPr>
        </p:nvSpPr>
        <p:spPr>
          <a:xfrm>
            <a:off x="4896757" y="4015034"/>
            <a:ext cx="3120203" cy="2842967"/>
          </a:xfrm>
          <a:custGeom>
            <a:avLst/>
            <a:gdLst>
              <a:gd name="connsiteX0" fmla="*/ 3016855 w 3120203"/>
              <a:gd name="connsiteY0" fmla="*/ 29 h 2842967"/>
              <a:gd name="connsiteX1" fmla="*/ 3120200 w 3120203"/>
              <a:gd name="connsiteY1" fmla="*/ 172113 h 2842967"/>
              <a:gd name="connsiteX2" fmla="*/ 3113947 w 3120203"/>
              <a:gd name="connsiteY2" fmla="*/ 1742123 h 2842967"/>
              <a:gd name="connsiteX3" fmla="*/ 2875949 w 3120203"/>
              <a:gd name="connsiteY3" fmla="*/ 2298497 h 2842967"/>
              <a:gd name="connsiteX4" fmla="*/ 2310829 w 3120203"/>
              <a:gd name="connsiteY4" fmla="*/ 2842967 h 2842967"/>
              <a:gd name="connsiteX5" fmla="*/ 0 w 3120203"/>
              <a:gd name="connsiteY5" fmla="*/ 2842967 h 2842967"/>
              <a:gd name="connsiteX6" fmla="*/ 2884657 w 3120203"/>
              <a:gd name="connsiteY6" fmla="*/ 71195 h 2842967"/>
              <a:gd name="connsiteX7" fmla="*/ 3016855 w 3120203"/>
              <a:gd name="connsiteY7" fmla="*/ 29 h 2842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0203" h="2842967">
                <a:moveTo>
                  <a:pt x="3016855" y="29"/>
                </a:moveTo>
                <a:cubicBezTo>
                  <a:pt x="3079611" y="-1493"/>
                  <a:pt x="3120619" y="58667"/>
                  <a:pt x="3120200" y="172113"/>
                </a:cubicBezTo>
                <a:lnTo>
                  <a:pt x="3113947" y="1742123"/>
                </a:lnTo>
                <a:cubicBezTo>
                  <a:pt x="3113947" y="1923637"/>
                  <a:pt x="3006558" y="2172580"/>
                  <a:pt x="2875949" y="2298497"/>
                </a:cubicBezTo>
                <a:lnTo>
                  <a:pt x="2310829" y="2842967"/>
                </a:lnTo>
                <a:lnTo>
                  <a:pt x="0" y="2842967"/>
                </a:lnTo>
                <a:lnTo>
                  <a:pt x="2884657" y="71195"/>
                </a:lnTo>
                <a:cubicBezTo>
                  <a:pt x="2933718" y="24059"/>
                  <a:pt x="2979201" y="941"/>
                  <a:pt x="3016855" y="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497532F2-46FA-4E8B-AC12-63988B007C2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CEE917EB-8B9C-444A-A691-65BD0C77EB24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25992887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rgbClr val="2725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12">
            <a:extLst>
              <a:ext uri="{FF2B5EF4-FFF2-40B4-BE49-F238E27FC236}">
                <a16:creationId xmlns:a16="http://schemas.microsoft.com/office/drawing/2014/main" id="{0AA02D89-B0CC-4EB3-8290-8F67692A6619}"/>
              </a:ext>
            </a:extLst>
          </p:cNvPr>
          <p:cNvSpPr>
            <a:spLocks/>
          </p:cNvSpPr>
          <p:nvPr/>
        </p:nvSpPr>
        <p:spPr bwMode="auto">
          <a:xfrm>
            <a:off x="0" y="925513"/>
            <a:ext cx="5354638" cy="5932487"/>
          </a:xfrm>
          <a:custGeom>
            <a:avLst/>
            <a:gdLst>
              <a:gd name="T0" fmla="*/ 5186481 w 5355203"/>
              <a:gd name="T1" fmla="*/ 50 h 5931729"/>
              <a:gd name="T2" fmla="*/ 5355203 w 5355203"/>
              <a:gd name="T3" fmla="*/ 278216 h 5931729"/>
              <a:gd name="T4" fmla="*/ 5355203 w 5355203"/>
              <a:gd name="T5" fmla="*/ 2818263 h 5931729"/>
              <a:gd name="T6" fmla="*/ 4971958 w 5355203"/>
              <a:gd name="T7" fmla="*/ 3718048 h 5931729"/>
              <a:gd name="T8" fmla="*/ 2668121 w 5355203"/>
              <a:gd name="T9" fmla="*/ 5931729 h 5931729"/>
              <a:gd name="T10" fmla="*/ 0 w 5355203"/>
              <a:gd name="T11" fmla="*/ 5931729 h 5931729"/>
              <a:gd name="T12" fmla="*/ 0 w 5355203"/>
              <a:gd name="T13" fmla="*/ 4954140 h 5931729"/>
              <a:gd name="T14" fmla="*/ 9114 w 5355203"/>
              <a:gd name="T15" fmla="*/ 4938582 h 5931729"/>
              <a:gd name="T16" fmla="*/ 158423 w 5355203"/>
              <a:gd name="T17" fmla="*/ 4753289 h 5931729"/>
              <a:gd name="T18" fmla="*/ 4972316 w 5355203"/>
              <a:gd name="T19" fmla="*/ 115303 h 5931729"/>
              <a:gd name="T20" fmla="*/ 5186481 w 5355203"/>
              <a:gd name="T21" fmla="*/ 50 h 5931729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0" t="0" r="r" b="b"/>
            <a:pathLst>
              <a:path w="5355203" h="5931729">
                <a:moveTo>
                  <a:pt x="5186481" y="50"/>
                </a:moveTo>
                <a:cubicBezTo>
                  <a:pt x="5288320" y="-2518"/>
                  <a:pt x="5355203" y="94671"/>
                  <a:pt x="5355203" y="278216"/>
                </a:cubicBezTo>
                <a:lnTo>
                  <a:pt x="5355203" y="2818263"/>
                </a:lnTo>
                <a:cubicBezTo>
                  <a:pt x="5355203" y="3111935"/>
                  <a:pt x="5183624" y="3514682"/>
                  <a:pt x="4971958" y="3718048"/>
                </a:cubicBezTo>
                <a:lnTo>
                  <a:pt x="2668121" y="5931729"/>
                </a:lnTo>
                <a:lnTo>
                  <a:pt x="0" y="5931729"/>
                </a:lnTo>
                <a:lnTo>
                  <a:pt x="0" y="4954140"/>
                </a:lnTo>
                <a:lnTo>
                  <a:pt x="9114" y="4938582"/>
                </a:lnTo>
                <a:cubicBezTo>
                  <a:pt x="55118" y="4867587"/>
                  <a:pt x="105596" y="4804218"/>
                  <a:pt x="158423" y="4753289"/>
                </a:cubicBezTo>
                <a:lnTo>
                  <a:pt x="4972316" y="115303"/>
                </a:lnTo>
                <a:cubicBezTo>
                  <a:pt x="5051691" y="39043"/>
                  <a:pt x="5125378" y="1591"/>
                  <a:pt x="5186481" y="50"/>
                </a:cubicBezTo>
                <a:close/>
              </a:path>
            </a:pathLst>
          </a:custGeom>
          <a:solidFill>
            <a:srgbClr val="7E003F">
              <a:alpha val="50195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6" name="Freeform: Shape 8">
            <a:extLst>
              <a:ext uri="{FF2B5EF4-FFF2-40B4-BE49-F238E27FC236}">
                <a16:creationId xmlns:a16="http://schemas.microsoft.com/office/drawing/2014/main" id="{D49F9938-89E2-47D1-93B4-77AEC60BA9DC}"/>
              </a:ext>
            </a:extLst>
          </p:cNvPr>
          <p:cNvSpPr/>
          <p:nvPr/>
        </p:nvSpPr>
        <p:spPr>
          <a:xfrm>
            <a:off x="2279650" y="1125538"/>
            <a:ext cx="1884363" cy="2855912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chemeClr val="accent4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</a:endParaRP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1034544" y="-27384"/>
            <a:ext cx="8765153" cy="6885385"/>
          </a:xfrm>
          <a:custGeom>
            <a:avLst/>
            <a:gdLst>
              <a:gd name="connsiteX0" fmla="*/ 7083139 w 8765153"/>
              <a:gd name="connsiteY0" fmla="*/ 0 h 6824309"/>
              <a:gd name="connsiteX1" fmla="*/ 8765153 w 8765153"/>
              <a:gd name="connsiteY1" fmla="*/ 0 h 6824309"/>
              <a:gd name="connsiteX2" fmla="*/ 8765153 w 8765153"/>
              <a:gd name="connsiteY2" fmla="*/ 5076952 h 6824309"/>
              <a:gd name="connsiteX3" fmla="*/ 8254822 w 8765153"/>
              <a:gd name="connsiteY3" fmla="*/ 6635190 h 6824309"/>
              <a:gd name="connsiteX4" fmla="*/ 8118882 w 8765153"/>
              <a:gd name="connsiteY4" fmla="*/ 6824309 h 6824309"/>
              <a:gd name="connsiteX5" fmla="*/ 0 w 8765153"/>
              <a:gd name="connsiteY5" fmla="*/ 6824309 h 6824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5153" h="6824309">
                <a:moveTo>
                  <a:pt x="7083139" y="0"/>
                </a:moveTo>
                <a:lnTo>
                  <a:pt x="8765153" y="0"/>
                </a:lnTo>
                <a:lnTo>
                  <a:pt x="8765153" y="5076952"/>
                </a:lnTo>
                <a:cubicBezTo>
                  <a:pt x="8765153" y="5557168"/>
                  <a:pt x="8554727" y="6171153"/>
                  <a:pt x="8254822" y="6635190"/>
                </a:cubicBezTo>
                <a:lnTo>
                  <a:pt x="8118882" y="6824309"/>
                </a:lnTo>
                <a:lnTo>
                  <a:pt x="0" y="6824309"/>
                </a:ln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r">
              <a:defRPr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21" name="Text Placeholder 120"/>
          <p:cNvSpPr>
            <a:spLocks noGrp="1"/>
          </p:cNvSpPr>
          <p:nvPr>
            <p:ph type="body" sz="quarter" idx="14"/>
          </p:nvPr>
        </p:nvSpPr>
        <p:spPr>
          <a:xfrm>
            <a:off x="1773123" y="1633525"/>
            <a:ext cx="3384379" cy="5127414"/>
          </a:xfrm>
          <a:custGeom>
            <a:avLst/>
            <a:gdLst>
              <a:gd name="connsiteX0" fmla="*/ 102114 w 3384379"/>
              <a:gd name="connsiteY0" fmla="*/ 31 h 5127414"/>
              <a:gd name="connsiteX1" fmla="*/ 231732 w 3384379"/>
              <a:gd name="connsiteY1" fmla="*/ 69784 h 5127414"/>
              <a:gd name="connsiteX2" fmla="*/ 3145213 w 3384379"/>
              <a:gd name="connsiteY2" fmla="*/ 2876802 h 5127414"/>
              <a:gd name="connsiteX3" fmla="*/ 3378253 w 3384379"/>
              <a:gd name="connsiteY3" fmla="*/ 3421586 h 5127414"/>
              <a:gd name="connsiteX4" fmla="*/ 3384376 w 3384379"/>
              <a:gd name="connsiteY4" fmla="*/ 4958887 h 5127414"/>
              <a:gd name="connsiteX5" fmla="*/ 3153739 w 3384379"/>
              <a:gd name="connsiteY5" fmla="*/ 5057703 h 5127414"/>
              <a:gd name="connsiteX6" fmla="*/ 231949 w 3384379"/>
              <a:gd name="connsiteY6" fmla="*/ 2250250 h 5127414"/>
              <a:gd name="connsiteX7" fmla="*/ 0 w 3384379"/>
              <a:gd name="connsiteY7" fmla="*/ 1705679 h 5127414"/>
              <a:gd name="connsiteX8" fmla="*/ 0 w 3384379"/>
              <a:gd name="connsiteY8" fmla="*/ 168383 h 5127414"/>
              <a:gd name="connsiteX9" fmla="*/ 102114 w 3384379"/>
              <a:gd name="connsiteY9" fmla="*/ 31 h 512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84379" h="5127414">
                <a:moveTo>
                  <a:pt x="102114" y="31"/>
                </a:moveTo>
                <a:cubicBezTo>
                  <a:pt x="139095" y="963"/>
                  <a:pt x="183692" y="23630"/>
                  <a:pt x="231732" y="69784"/>
                </a:cubicBezTo>
                <a:lnTo>
                  <a:pt x="3145213" y="2876802"/>
                </a:lnTo>
                <a:cubicBezTo>
                  <a:pt x="3273101" y="3000097"/>
                  <a:pt x="3378253" y="3243853"/>
                  <a:pt x="3378253" y="3421586"/>
                </a:cubicBezTo>
                <a:lnTo>
                  <a:pt x="3384376" y="4958887"/>
                </a:lnTo>
                <a:cubicBezTo>
                  <a:pt x="3385032" y="5136620"/>
                  <a:pt x="3281845" y="5180780"/>
                  <a:pt x="3153739" y="5057703"/>
                </a:cubicBezTo>
                <a:lnTo>
                  <a:pt x="231949" y="2250250"/>
                </a:lnTo>
                <a:cubicBezTo>
                  <a:pt x="103844" y="2127168"/>
                  <a:pt x="0" y="1883417"/>
                  <a:pt x="0" y="1705679"/>
                </a:cubicBezTo>
                <a:lnTo>
                  <a:pt x="0" y="168383"/>
                </a:lnTo>
                <a:cubicBezTo>
                  <a:pt x="0" y="57297"/>
                  <a:pt x="40479" y="-1524"/>
                  <a:pt x="102114" y="31"/>
                </a:cubicBezTo>
                <a:close/>
              </a:path>
            </a:pathLst>
          </a:custGeom>
          <a:solidFill>
            <a:srgbClr val="38B6AB">
              <a:alpha val="4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55F0039A-9CDC-47BD-BE87-8C674E41E2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59E8094D-17B2-4CC9-AE31-70E6E2967360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412483025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20" hidden="1">
            <a:extLst>
              <a:ext uri="{FF2B5EF4-FFF2-40B4-BE49-F238E27FC236}">
                <a16:creationId xmlns:a16="http://schemas.microsoft.com/office/drawing/2014/main" id="{CD199D5C-F3BB-4AB3-9C3F-6C11FCC045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314" name="Object 20" hidden="1">
                        <a:extLst>
                          <a:ext uri="{FF2B5EF4-FFF2-40B4-BE49-F238E27FC236}">
                            <a16:creationId xmlns:a16="http://schemas.microsoft.com/office/drawing/2014/main" id="{E1AE92F7-C7C7-4CA5-A82C-57C17EBF0C7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 Placeholder 48"/>
          <p:cNvSpPr>
            <a:spLocks noGrp="1"/>
          </p:cNvSpPr>
          <p:nvPr>
            <p:ph type="body" sz="quarter" idx="18"/>
          </p:nvPr>
        </p:nvSpPr>
        <p:spPr>
          <a:xfrm>
            <a:off x="6714860" y="-2"/>
            <a:ext cx="5477141" cy="6858002"/>
          </a:xfrm>
          <a:custGeom>
            <a:avLst/>
            <a:gdLst>
              <a:gd name="connsiteX0" fmla="*/ 3986471 w 5477141"/>
              <a:gd name="connsiteY0" fmla="*/ 0 h 6858002"/>
              <a:gd name="connsiteX1" fmla="*/ 5477141 w 5477141"/>
              <a:gd name="connsiteY1" fmla="*/ 0 h 6858002"/>
              <a:gd name="connsiteX2" fmla="*/ 5477141 w 5477141"/>
              <a:gd name="connsiteY2" fmla="*/ 5978697 h 6858002"/>
              <a:gd name="connsiteX3" fmla="*/ 4566103 w 5477141"/>
              <a:gd name="connsiteY3" fmla="*/ 6858002 h 6858002"/>
              <a:gd name="connsiteX4" fmla="*/ 0 w 5477141"/>
              <a:gd name="connsiteY4" fmla="*/ 6858002 h 6858002"/>
              <a:gd name="connsiteX5" fmla="*/ 10973 w 5477141"/>
              <a:gd name="connsiteY5" fmla="*/ 4194085 h 6858002"/>
              <a:gd name="connsiteX6" fmla="*/ 262590 w 5477141"/>
              <a:gd name="connsiteY6" fmla="*/ 3603624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77141" h="6858002">
                <a:moveTo>
                  <a:pt x="3986471" y="0"/>
                </a:moveTo>
                <a:lnTo>
                  <a:pt x="5477141" y="0"/>
                </a:lnTo>
                <a:lnTo>
                  <a:pt x="5477141" y="5978697"/>
                </a:lnTo>
                <a:lnTo>
                  <a:pt x="4566103" y="6858002"/>
                </a:lnTo>
                <a:lnTo>
                  <a:pt x="0" y="6858002"/>
                </a:lnTo>
                <a:lnTo>
                  <a:pt x="10973" y="4194085"/>
                </a:lnTo>
                <a:cubicBezTo>
                  <a:pt x="11711" y="4001686"/>
                  <a:pt x="124372" y="3737295"/>
                  <a:pt x="262590" y="3603624"/>
                </a:cubicBezTo>
                <a:close/>
              </a:path>
            </a:pathLst>
          </a:custGeom>
          <a:solidFill>
            <a:srgbClr val="97BE0D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4"/>
          </p:nvPr>
        </p:nvSpPr>
        <p:spPr>
          <a:xfrm>
            <a:off x="8761482" y="300589"/>
            <a:ext cx="3430518" cy="5720327"/>
          </a:xfrm>
          <a:custGeom>
            <a:avLst/>
            <a:gdLst>
              <a:gd name="connsiteX0" fmla="*/ 117485 w 3430518"/>
              <a:gd name="connsiteY0" fmla="*/ 56 h 5720327"/>
              <a:gd name="connsiteX1" fmla="*/ 267840 w 3430518"/>
              <a:gd name="connsiteY1" fmla="*/ 82765 h 5720327"/>
              <a:gd name="connsiteX2" fmla="*/ 3430518 w 3430518"/>
              <a:gd name="connsiteY2" fmla="*/ 3169975 h 5720327"/>
              <a:gd name="connsiteX3" fmla="*/ 3430518 w 3430518"/>
              <a:gd name="connsiteY3" fmla="*/ 5720327 h 5720327"/>
              <a:gd name="connsiteX4" fmla="*/ 277667 w 3430518"/>
              <a:gd name="connsiteY4" fmla="*/ 2635413 h 5720327"/>
              <a:gd name="connsiteX5" fmla="*/ 7377 w 3430518"/>
              <a:gd name="connsiteY5" fmla="*/ 1995687 h 5720327"/>
              <a:gd name="connsiteX6" fmla="*/ 5 w 3430518"/>
              <a:gd name="connsiteY6" fmla="*/ 196289 h 5720327"/>
              <a:gd name="connsiteX7" fmla="*/ 117485 w 3430518"/>
              <a:gd name="connsiteY7" fmla="*/ 56 h 57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30518" h="5720327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3430518" y="3169975"/>
                </a:lnTo>
                <a:lnTo>
                  <a:pt x="3430518" y="5720327"/>
                </a:lnTo>
                <a:lnTo>
                  <a:pt x="277667" y="2635413"/>
                </a:lnTo>
                <a:cubicBezTo>
                  <a:pt x="129375" y="2489948"/>
                  <a:pt x="8237" y="2203562"/>
                  <a:pt x="7377" y="1995687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5"/>
          </p:nvPr>
        </p:nvSpPr>
        <p:spPr>
          <a:xfrm>
            <a:off x="7255062" y="4375974"/>
            <a:ext cx="2679466" cy="2482023"/>
          </a:xfrm>
          <a:custGeom>
            <a:avLst/>
            <a:gdLst>
              <a:gd name="connsiteX0" fmla="*/ 3495324 w 3619869"/>
              <a:gd name="connsiteY0" fmla="*/ 64 h 3353130"/>
              <a:gd name="connsiteX1" fmla="*/ 3619869 w 3619869"/>
              <a:gd name="connsiteY1" fmla="*/ 206007 h 3353130"/>
              <a:gd name="connsiteX2" fmla="*/ 3619869 w 3619869"/>
              <a:gd name="connsiteY2" fmla="*/ 2095951 h 3353130"/>
              <a:gd name="connsiteX3" fmla="*/ 3337292 w 3619869"/>
              <a:gd name="connsiteY3" fmla="*/ 2767747 h 3353130"/>
              <a:gd name="connsiteX4" fmla="*/ 2737494 w 3619869"/>
              <a:gd name="connsiteY4" fmla="*/ 3353130 h 3353130"/>
              <a:gd name="connsiteX5" fmla="*/ 0 w 3619869"/>
              <a:gd name="connsiteY5" fmla="*/ 3353130 h 3353130"/>
              <a:gd name="connsiteX6" fmla="*/ 3337292 w 3619869"/>
              <a:gd name="connsiteY6" fmla="*/ 87203 h 3353130"/>
              <a:gd name="connsiteX7" fmla="*/ 3495324 w 3619869"/>
              <a:gd name="connsiteY7" fmla="*/ 64 h 335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19869" h="3353130">
                <a:moveTo>
                  <a:pt x="3495324" y="64"/>
                </a:moveTo>
                <a:cubicBezTo>
                  <a:pt x="3570486" y="-2440"/>
                  <a:pt x="3619869" y="69557"/>
                  <a:pt x="3619869" y="206007"/>
                </a:cubicBezTo>
                <a:lnTo>
                  <a:pt x="3619869" y="2095951"/>
                </a:lnTo>
                <a:cubicBezTo>
                  <a:pt x="3619869" y="2314395"/>
                  <a:pt x="3493078" y="2615156"/>
                  <a:pt x="3337292" y="2767747"/>
                </a:cubicBezTo>
                <a:lnTo>
                  <a:pt x="2737494" y="3353130"/>
                </a:lnTo>
                <a:lnTo>
                  <a:pt x="0" y="3353130"/>
                </a:lnTo>
                <a:lnTo>
                  <a:pt x="3337292" y="87203"/>
                </a:lnTo>
                <a:cubicBezTo>
                  <a:pt x="3395851" y="29890"/>
                  <a:pt x="3450228" y="1567"/>
                  <a:pt x="3495324" y="6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6"/>
          </p:nvPr>
        </p:nvSpPr>
        <p:spPr>
          <a:xfrm>
            <a:off x="10702658" y="579233"/>
            <a:ext cx="1489341" cy="3820884"/>
          </a:xfrm>
          <a:custGeom>
            <a:avLst/>
            <a:gdLst>
              <a:gd name="connsiteX0" fmla="*/ 117485 w 1489341"/>
              <a:gd name="connsiteY0" fmla="*/ 56 h 3820884"/>
              <a:gd name="connsiteX1" fmla="*/ 267840 w 1489341"/>
              <a:gd name="connsiteY1" fmla="*/ 82765 h 3820884"/>
              <a:gd name="connsiteX2" fmla="*/ 1489341 w 1489341"/>
              <a:gd name="connsiteY2" fmla="*/ 1274987 h 3820884"/>
              <a:gd name="connsiteX3" fmla="*/ 1489341 w 1489341"/>
              <a:gd name="connsiteY3" fmla="*/ 3820884 h 3820884"/>
              <a:gd name="connsiteX4" fmla="*/ 278035 w 1489341"/>
              <a:gd name="connsiteY4" fmla="*/ 2635414 h 3820884"/>
              <a:gd name="connsiteX5" fmla="*/ 7745 w 1489341"/>
              <a:gd name="connsiteY5" fmla="*/ 1995562 h 3820884"/>
              <a:gd name="connsiteX6" fmla="*/ 5 w 1489341"/>
              <a:gd name="connsiteY6" fmla="*/ 196289 h 3820884"/>
              <a:gd name="connsiteX7" fmla="*/ 117485 w 1489341"/>
              <a:gd name="connsiteY7" fmla="*/ 56 h 3820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9341" h="3820884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1489341" y="1274987"/>
                </a:lnTo>
                <a:lnTo>
                  <a:pt x="1489341" y="3820884"/>
                </a:lnTo>
                <a:lnTo>
                  <a:pt x="278035" y="2635414"/>
                </a:lnTo>
                <a:cubicBezTo>
                  <a:pt x="129746" y="2489948"/>
                  <a:pt x="8605" y="2203565"/>
                  <a:pt x="7745" y="1995562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6" name="Text Placeholder 45"/>
          <p:cNvSpPr>
            <a:spLocks noGrp="1"/>
          </p:cNvSpPr>
          <p:nvPr>
            <p:ph type="body" sz="quarter" idx="17"/>
          </p:nvPr>
        </p:nvSpPr>
        <p:spPr>
          <a:xfrm>
            <a:off x="11399642" y="2074095"/>
            <a:ext cx="792359" cy="2251289"/>
          </a:xfrm>
          <a:custGeom>
            <a:avLst/>
            <a:gdLst>
              <a:gd name="connsiteX0" fmla="*/ 792359 w 792359"/>
              <a:gd name="connsiteY0" fmla="*/ 0 h 2251289"/>
              <a:gd name="connsiteX1" fmla="*/ 792359 w 792359"/>
              <a:gd name="connsiteY1" fmla="*/ 1589453 h 2251289"/>
              <a:gd name="connsiteX2" fmla="*/ 167214 w 792359"/>
              <a:gd name="connsiteY2" fmla="*/ 2199598 h 2251289"/>
              <a:gd name="connsiteX3" fmla="*/ 3 w 792359"/>
              <a:gd name="connsiteY3" fmla="*/ 2128708 h 2251289"/>
              <a:gd name="connsiteX4" fmla="*/ 4550 w 792359"/>
              <a:gd name="connsiteY4" fmla="*/ 1005161 h 2251289"/>
              <a:gd name="connsiteX5" fmla="*/ 173480 w 792359"/>
              <a:gd name="connsiteY5" fmla="*/ 605622 h 225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359" h="2251289">
                <a:moveTo>
                  <a:pt x="792359" y="0"/>
                </a:moveTo>
                <a:lnTo>
                  <a:pt x="792359" y="1589453"/>
                </a:lnTo>
                <a:lnTo>
                  <a:pt x="167214" y="2199598"/>
                </a:lnTo>
                <a:cubicBezTo>
                  <a:pt x="74334" y="2290269"/>
                  <a:pt x="-487" y="2258570"/>
                  <a:pt x="3" y="2128708"/>
                </a:cubicBezTo>
                <a:lnTo>
                  <a:pt x="4550" y="1005161"/>
                </a:lnTo>
                <a:cubicBezTo>
                  <a:pt x="4550" y="875299"/>
                  <a:pt x="80721" y="696539"/>
                  <a:pt x="173480" y="605622"/>
                </a:cubicBezTo>
                <a:close/>
              </a:path>
            </a:pathLst>
          </a:custGeom>
          <a:solidFill>
            <a:srgbClr val="F07E26">
              <a:alpha val="80000"/>
            </a:srgbClr>
          </a:solidFill>
          <a:ln w="4539" cap="flat">
            <a:noFill/>
            <a:prstDash val="solid"/>
            <a:miter/>
          </a:ln>
        </p:spPr>
        <p:txBody>
          <a:bodyPr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20"/>
          </p:nvPr>
        </p:nvSpPr>
        <p:spPr>
          <a:xfrm>
            <a:off x="9556188" y="5517233"/>
            <a:ext cx="1565162" cy="1340768"/>
          </a:xfrm>
          <a:custGeom>
            <a:avLst/>
            <a:gdLst>
              <a:gd name="connsiteX0" fmla="*/ 710975 w 784278"/>
              <a:gd name="connsiteY0" fmla="*/ 73 h 671838"/>
              <a:gd name="connsiteX1" fmla="*/ 784278 w 784278"/>
              <a:gd name="connsiteY1" fmla="*/ 121712 h 671838"/>
              <a:gd name="connsiteX2" fmla="*/ 784278 w 784278"/>
              <a:gd name="connsiteY2" fmla="*/ 671838 h 671838"/>
              <a:gd name="connsiteX3" fmla="*/ 0 w 784278"/>
              <a:gd name="connsiteY3" fmla="*/ 671838 h 671838"/>
              <a:gd name="connsiteX4" fmla="*/ 618048 w 784278"/>
              <a:gd name="connsiteY4" fmla="*/ 53034 h 671838"/>
              <a:gd name="connsiteX5" fmla="*/ 710975 w 784278"/>
              <a:gd name="connsiteY5" fmla="*/ 73 h 671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278" h="671838">
                <a:moveTo>
                  <a:pt x="710975" y="73"/>
                </a:moveTo>
                <a:cubicBezTo>
                  <a:pt x="755194" y="-2002"/>
                  <a:pt x="784278" y="40394"/>
                  <a:pt x="784278" y="121712"/>
                </a:cubicBezTo>
                <a:lnTo>
                  <a:pt x="784278" y="671838"/>
                </a:lnTo>
                <a:lnTo>
                  <a:pt x="0" y="671838"/>
                </a:lnTo>
                <a:lnTo>
                  <a:pt x="618048" y="53034"/>
                </a:lnTo>
                <a:cubicBezTo>
                  <a:pt x="652464" y="18572"/>
                  <a:pt x="684444" y="1318"/>
                  <a:pt x="710975" y="73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 w="4539" cap="flat">
            <a:noFill/>
            <a:prstDash val="solid"/>
            <a:miter/>
          </a:ln>
        </p:spPr>
        <p:txBody>
          <a:bodyPr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6" name="Content Placeholder 2"/>
          <p:cNvSpPr>
            <a:spLocks noGrp="1"/>
          </p:cNvSpPr>
          <p:nvPr>
            <p:ph idx="1"/>
          </p:nvPr>
        </p:nvSpPr>
        <p:spPr>
          <a:xfrm>
            <a:off x="623887" y="1628801"/>
            <a:ext cx="5760145" cy="410524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7" name="Title 11"/>
          <p:cNvSpPr>
            <a:spLocks noGrp="1"/>
          </p:cNvSpPr>
          <p:nvPr>
            <p:ph type="title"/>
          </p:nvPr>
        </p:nvSpPr>
        <p:spPr>
          <a:xfrm>
            <a:off x="612457" y="332657"/>
            <a:ext cx="7815651" cy="108012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DA314526-BF44-4E73-B443-82EE61F31D0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fld id="{971083D6-325F-4AC2-B54D-ADB7683CEE5A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995476199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 Placeholder 133"/>
          <p:cNvSpPr>
            <a:spLocks noGrp="1"/>
          </p:cNvSpPr>
          <p:nvPr>
            <p:ph type="body" sz="quarter" idx="15"/>
          </p:nvPr>
        </p:nvSpPr>
        <p:spPr>
          <a:xfrm>
            <a:off x="1" y="0"/>
            <a:ext cx="4098689" cy="6858000"/>
          </a:xfrm>
          <a:custGeom>
            <a:avLst/>
            <a:gdLst>
              <a:gd name="connsiteX0" fmla="*/ 3070124 w 4098689"/>
              <a:gd name="connsiteY0" fmla="*/ 0 h 6858000"/>
              <a:gd name="connsiteX1" fmla="*/ 4098689 w 4098689"/>
              <a:gd name="connsiteY1" fmla="*/ 0 h 6858000"/>
              <a:gd name="connsiteX2" fmla="*/ 4098689 w 4098689"/>
              <a:gd name="connsiteY2" fmla="*/ 3644244 h 6858000"/>
              <a:gd name="connsiteX3" fmla="*/ 3520398 w 4098689"/>
              <a:gd name="connsiteY3" fmla="*/ 5001960 h 6858000"/>
              <a:gd name="connsiteX4" fmla="*/ 1588767 w 4098689"/>
              <a:gd name="connsiteY4" fmla="*/ 6858000 h 6858000"/>
              <a:gd name="connsiteX5" fmla="*/ 0 w 4098689"/>
              <a:gd name="connsiteY5" fmla="*/ 6858000 h 6858000"/>
              <a:gd name="connsiteX6" fmla="*/ 0 w 4098689"/>
              <a:gd name="connsiteY6" fmla="*/ 29579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8689" h="6858000">
                <a:moveTo>
                  <a:pt x="3070124" y="0"/>
                </a:moveTo>
                <a:lnTo>
                  <a:pt x="4098689" y="0"/>
                </a:lnTo>
                <a:lnTo>
                  <a:pt x="4098689" y="3644244"/>
                </a:lnTo>
                <a:cubicBezTo>
                  <a:pt x="4098689" y="4087376"/>
                  <a:pt x="3839788" y="4695094"/>
                  <a:pt x="3520398" y="5001960"/>
                </a:cubicBezTo>
                <a:lnTo>
                  <a:pt x="1588767" y="6858000"/>
                </a:lnTo>
                <a:lnTo>
                  <a:pt x="0" y="6858000"/>
                </a:lnTo>
                <a:lnTo>
                  <a:pt x="0" y="2957937"/>
                </a:lnTo>
                <a:close/>
              </a:path>
            </a:pathLst>
          </a:custGeom>
          <a:solidFill>
            <a:srgbClr val="005191">
              <a:alpha val="6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1" y="1201283"/>
            <a:ext cx="2894574" cy="5456097"/>
          </a:xfrm>
          <a:custGeom>
            <a:avLst/>
            <a:gdLst>
              <a:gd name="connsiteX0" fmla="*/ 2759851 w 2894574"/>
              <a:gd name="connsiteY0" fmla="*/ 40 h 5456097"/>
              <a:gd name="connsiteX1" fmla="*/ 2894574 w 2894574"/>
              <a:gd name="connsiteY1" fmla="*/ 222154 h 5456097"/>
              <a:gd name="connsiteX2" fmla="*/ 2894574 w 2894574"/>
              <a:gd name="connsiteY2" fmla="*/ 2250366 h 5456097"/>
              <a:gd name="connsiteX3" fmla="*/ 2588555 w 2894574"/>
              <a:gd name="connsiteY3" fmla="*/ 2968840 h 5456097"/>
              <a:gd name="connsiteX4" fmla="*/ 0 w 2894574"/>
              <a:gd name="connsiteY4" fmla="*/ 5456097 h 5456097"/>
              <a:gd name="connsiteX5" fmla="*/ 0 w 2894574"/>
              <a:gd name="connsiteY5" fmla="*/ 2586310 h 5456097"/>
              <a:gd name="connsiteX6" fmla="*/ 2588842 w 2894574"/>
              <a:gd name="connsiteY6" fmla="*/ 92068 h 5456097"/>
              <a:gd name="connsiteX7" fmla="*/ 2759851 w 2894574"/>
              <a:gd name="connsiteY7" fmla="*/ 40 h 545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94574" h="5456097">
                <a:moveTo>
                  <a:pt x="2759851" y="40"/>
                </a:moveTo>
                <a:cubicBezTo>
                  <a:pt x="2841168" y="-2011"/>
                  <a:pt x="2894574" y="75594"/>
                  <a:pt x="2894574" y="222154"/>
                </a:cubicBezTo>
                <a:lnTo>
                  <a:pt x="2894574" y="2250366"/>
                </a:lnTo>
                <a:cubicBezTo>
                  <a:pt x="2894574" y="2484862"/>
                  <a:pt x="2757569" y="2806453"/>
                  <a:pt x="2588555" y="2968840"/>
                </a:cubicBezTo>
                <a:lnTo>
                  <a:pt x="0" y="5456097"/>
                </a:lnTo>
                <a:lnTo>
                  <a:pt x="0" y="2586310"/>
                </a:lnTo>
                <a:lnTo>
                  <a:pt x="2588842" y="92068"/>
                </a:lnTo>
                <a:cubicBezTo>
                  <a:pt x="2652222" y="31176"/>
                  <a:pt x="2711061" y="1270"/>
                  <a:pt x="2759851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30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31" name="Title 6"/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137" name="Text Placeholder 136"/>
          <p:cNvSpPr>
            <a:spLocks noGrp="1"/>
          </p:cNvSpPr>
          <p:nvPr>
            <p:ph type="body" sz="quarter" idx="16"/>
          </p:nvPr>
        </p:nvSpPr>
        <p:spPr>
          <a:xfrm>
            <a:off x="1" y="949365"/>
            <a:ext cx="1491321" cy="3079866"/>
          </a:xfrm>
          <a:custGeom>
            <a:avLst/>
            <a:gdLst>
              <a:gd name="connsiteX0" fmla="*/ 1408371 w 1491321"/>
              <a:gd name="connsiteY0" fmla="*/ 25 h 3079866"/>
              <a:gd name="connsiteX1" fmla="*/ 1436224 w 1491321"/>
              <a:gd name="connsiteY1" fmla="*/ 5100 h 3079866"/>
              <a:gd name="connsiteX2" fmla="*/ 1491321 w 1491321"/>
              <a:gd name="connsiteY2" fmla="*/ 136783 h 3079866"/>
              <a:gd name="connsiteX3" fmla="*/ 1491321 w 1491321"/>
              <a:gd name="connsiteY3" fmla="*/ 1385578 h 3079866"/>
              <a:gd name="connsiteX4" fmla="*/ 1302902 w 1491321"/>
              <a:gd name="connsiteY4" fmla="*/ 1827951 h 3079866"/>
              <a:gd name="connsiteX5" fmla="*/ 0 w 1491321"/>
              <a:gd name="connsiteY5" fmla="*/ 3079866 h 3079866"/>
              <a:gd name="connsiteX6" fmla="*/ 0 w 1491321"/>
              <a:gd name="connsiteY6" fmla="*/ 1312149 h 3079866"/>
              <a:gd name="connsiteX7" fmla="*/ 1303078 w 1491321"/>
              <a:gd name="connsiteY7" fmla="*/ 56688 h 3079866"/>
              <a:gd name="connsiteX8" fmla="*/ 1408371 w 1491321"/>
              <a:gd name="connsiteY8" fmla="*/ 25 h 3079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321" h="3079866">
                <a:moveTo>
                  <a:pt x="1408371" y="25"/>
                </a:moveTo>
                <a:cubicBezTo>
                  <a:pt x="1418385" y="-228"/>
                  <a:pt x="1427711" y="1482"/>
                  <a:pt x="1436224" y="5100"/>
                </a:cubicBezTo>
                <a:cubicBezTo>
                  <a:pt x="1470277" y="19573"/>
                  <a:pt x="1491321" y="64592"/>
                  <a:pt x="1491321" y="136783"/>
                </a:cubicBezTo>
                <a:lnTo>
                  <a:pt x="1491321" y="1385578"/>
                </a:lnTo>
                <a:cubicBezTo>
                  <a:pt x="1491321" y="1529960"/>
                  <a:pt x="1406966" y="1727967"/>
                  <a:pt x="1302902" y="1827951"/>
                </a:cubicBezTo>
                <a:lnTo>
                  <a:pt x="0" y="3079866"/>
                </a:lnTo>
                <a:lnTo>
                  <a:pt x="0" y="1312149"/>
                </a:lnTo>
                <a:lnTo>
                  <a:pt x="1303078" y="56688"/>
                </a:lnTo>
                <a:cubicBezTo>
                  <a:pt x="1342102" y="19196"/>
                  <a:pt x="1378330" y="782"/>
                  <a:pt x="1408371" y="25"/>
                </a:cubicBezTo>
                <a:close/>
              </a:path>
            </a:pathLst>
          </a:custGeom>
          <a:solidFill>
            <a:srgbClr val="F07E26">
              <a:alpha val="35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1" name="Text Placeholder 140"/>
          <p:cNvSpPr>
            <a:spLocks noGrp="1"/>
          </p:cNvSpPr>
          <p:nvPr>
            <p:ph type="body" sz="quarter" idx="17"/>
          </p:nvPr>
        </p:nvSpPr>
        <p:spPr>
          <a:xfrm>
            <a:off x="810740" y="4291002"/>
            <a:ext cx="2822963" cy="2566999"/>
          </a:xfrm>
          <a:custGeom>
            <a:avLst/>
            <a:gdLst>
              <a:gd name="connsiteX0" fmla="*/ 101667 w 2822963"/>
              <a:gd name="connsiteY0" fmla="*/ 30 h 2566999"/>
              <a:gd name="connsiteX1" fmla="*/ 230717 w 2822963"/>
              <a:gd name="connsiteY1" fmla="*/ 69478 h 2566999"/>
              <a:gd name="connsiteX2" fmla="*/ 2822963 w 2822963"/>
              <a:gd name="connsiteY2" fmla="*/ 2566999 h 2566999"/>
              <a:gd name="connsiteX3" fmla="*/ 570843 w 2822963"/>
              <a:gd name="connsiteY3" fmla="*/ 2566999 h 2566999"/>
              <a:gd name="connsiteX4" fmla="*/ 230933 w 2822963"/>
              <a:gd name="connsiteY4" fmla="*/ 2240391 h 2566999"/>
              <a:gd name="connsiteX5" fmla="*/ 0 w 2822963"/>
              <a:gd name="connsiteY5" fmla="*/ 1698206 h 2566999"/>
              <a:gd name="connsiteX6" fmla="*/ 0 w 2822963"/>
              <a:gd name="connsiteY6" fmla="*/ 167645 h 2566999"/>
              <a:gd name="connsiteX7" fmla="*/ 101667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101667" y="30"/>
                </a:moveTo>
                <a:cubicBezTo>
                  <a:pt x="138486" y="958"/>
                  <a:pt x="182888" y="23526"/>
                  <a:pt x="230717" y="69478"/>
                </a:cubicBezTo>
                <a:lnTo>
                  <a:pt x="2822963" y="2566999"/>
                </a:lnTo>
                <a:lnTo>
                  <a:pt x="570843" y="2566999"/>
                </a:lnTo>
                <a:lnTo>
                  <a:pt x="230933" y="2240391"/>
                </a:lnTo>
                <a:cubicBezTo>
                  <a:pt x="103389" y="2117848"/>
                  <a:pt x="0" y="1875164"/>
                  <a:pt x="0" y="1698206"/>
                </a:cubicBezTo>
                <a:lnTo>
                  <a:pt x="0" y="167645"/>
                </a:lnTo>
                <a:cubicBezTo>
                  <a:pt x="0" y="57045"/>
                  <a:pt x="40302" y="-1518"/>
                  <a:pt x="101667" y="30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A616E4D-A144-4C9D-8A28-D73A127F0AC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1BEF5591-1762-4B21-87B7-D638CE7E17DE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439773672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/>
          <p:cNvSpPr>
            <a:spLocks noGrp="1"/>
          </p:cNvSpPr>
          <p:nvPr>
            <p:ph type="body" sz="quarter" idx="15"/>
          </p:nvPr>
        </p:nvSpPr>
        <p:spPr>
          <a:xfrm>
            <a:off x="6448427" y="0"/>
            <a:ext cx="5743573" cy="6858000"/>
          </a:xfrm>
          <a:custGeom>
            <a:avLst/>
            <a:gdLst>
              <a:gd name="connsiteX0" fmla="*/ 3165530 w 5743573"/>
              <a:gd name="connsiteY0" fmla="*/ 0 h 6858000"/>
              <a:gd name="connsiteX1" fmla="*/ 5743573 w 5743573"/>
              <a:gd name="connsiteY1" fmla="*/ 0 h 6858000"/>
              <a:gd name="connsiteX2" fmla="*/ 5743573 w 5743573"/>
              <a:gd name="connsiteY2" fmla="*/ 4429751 h 6858000"/>
              <a:gd name="connsiteX3" fmla="*/ 3223227 w 5743573"/>
              <a:gd name="connsiteY3" fmla="*/ 6858000 h 6858000"/>
              <a:gd name="connsiteX4" fmla="*/ 0 w 5743573"/>
              <a:gd name="connsiteY4" fmla="*/ 6858000 h 6858000"/>
              <a:gd name="connsiteX5" fmla="*/ 0 w 5743573"/>
              <a:gd name="connsiteY5" fmla="*/ 4062689 h 6858000"/>
              <a:gd name="connsiteX6" fmla="*/ 736180 w 5743573"/>
              <a:gd name="connsiteY6" fmla="*/ 23342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3573" h="6858000">
                <a:moveTo>
                  <a:pt x="3165530" y="0"/>
                </a:moveTo>
                <a:lnTo>
                  <a:pt x="5743573" y="0"/>
                </a:lnTo>
                <a:lnTo>
                  <a:pt x="5743573" y="4429751"/>
                </a:lnTo>
                <a:lnTo>
                  <a:pt x="3223227" y="6858000"/>
                </a:lnTo>
                <a:lnTo>
                  <a:pt x="0" y="6858000"/>
                </a:lnTo>
                <a:lnTo>
                  <a:pt x="0" y="4062689"/>
                </a:lnTo>
                <a:cubicBezTo>
                  <a:pt x="0" y="3498571"/>
                  <a:pt x="329588" y="2724931"/>
                  <a:pt x="736180" y="2334283"/>
                </a:cubicBezTo>
                <a:close/>
              </a:path>
            </a:pathLst>
          </a:custGeom>
          <a:solidFill>
            <a:srgbClr val="DC006B">
              <a:alpha val="3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DC006B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1"/>
          </p:nvPr>
        </p:nvSpPr>
        <p:spPr>
          <a:xfrm>
            <a:off x="6980135" y="3806402"/>
            <a:ext cx="3359734" cy="3051598"/>
          </a:xfrm>
          <a:custGeom>
            <a:avLst/>
            <a:gdLst>
              <a:gd name="connsiteX0" fmla="*/ 3236405 w 3359734"/>
              <a:gd name="connsiteY0" fmla="*/ 37 h 3051598"/>
              <a:gd name="connsiteX1" fmla="*/ 3359734 w 3359734"/>
              <a:gd name="connsiteY1" fmla="*/ 203367 h 3051598"/>
              <a:gd name="connsiteX2" fmla="*/ 3359734 w 3359734"/>
              <a:gd name="connsiteY2" fmla="*/ 2060053 h 3051598"/>
              <a:gd name="connsiteX3" fmla="*/ 3079596 w 3359734"/>
              <a:gd name="connsiteY3" fmla="*/ 2717765 h 3051598"/>
              <a:gd name="connsiteX4" fmla="*/ 2732167 w 3359734"/>
              <a:gd name="connsiteY4" fmla="*/ 3051598 h 3051598"/>
              <a:gd name="connsiteX5" fmla="*/ 0 w 3359734"/>
              <a:gd name="connsiteY5" fmla="*/ 3051598 h 3051598"/>
              <a:gd name="connsiteX6" fmla="*/ 3079858 w 3359734"/>
              <a:gd name="connsiteY6" fmla="*/ 84283 h 3051598"/>
              <a:gd name="connsiteX7" fmla="*/ 3236405 w 3359734"/>
              <a:gd name="connsiteY7" fmla="*/ 37 h 305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59734" h="3051598">
                <a:moveTo>
                  <a:pt x="3236405" y="37"/>
                </a:moveTo>
                <a:cubicBezTo>
                  <a:pt x="3310845" y="-1841"/>
                  <a:pt x="3359734" y="69201"/>
                  <a:pt x="3359734" y="203367"/>
                </a:cubicBezTo>
                <a:lnTo>
                  <a:pt x="3359734" y="2060053"/>
                </a:lnTo>
                <a:cubicBezTo>
                  <a:pt x="3359734" y="2274717"/>
                  <a:pt x="3234316" y="2569111"/>
                  <a:pt x="3079596" y="2717765"/>
                </a:cubicBezTo>
                <a:lnTo>
                  <a:pt x="2732167" y="3051598"/>
                </a:lnTo>
                <a:lnTo>
                  <a:pt x="0" y="3051598"/>
                </a:lnTo>
                <a:lnTo>
                  <a:pt x="3079858" y="84283"/>
                </a:lnTo>
                <a:cubicBezTo>
                  <a:pt x="3137878" y="28540"/>
                  <a:pt x="3191741" y="1163"/>
                  <a:pt x="3236405" y="3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50" name="Text Placeholder 149"/>
          <p:cNvSpPr>
            <a:spLocks noGrp="1"/>
          </p:cNvSpPr>
          <p:nvPr>
            <p:ph type="body" sz="quarter" idx="16"/>
          </p:nvPr>
        </p:nvSpPr>
        <p:spPr>
          <a:xfrm>
            <a:off x="8660002" y="4005064"/>
            <a:ext cx="3531998" cy="2852936"/>
          </a:xfrm>
          <a:custGeom>
            <a:avLst/>
            <a:gdLst>
              <a:gd name="connsiteX0" fmla="*/ 2961142 w 3531998"/>
              <a:gd name="connsiteY0" fmla="*/ 0 h 2852936"/>
              <a:gd name="connsiteX1" fmla="*/ 3531998 w 3531998"/>
              <a:gd name="connsiteY1" fmla="*/ 0 h 2852936"/>
              <a:gd name="connsiteX2" fmla="*/ 3531998 w 3531998"/>
              <a:gd name="connsiteY2" fmla="*/ 2239358 h 2852936"/>
              <a:gd name="connsiteX3" fmla="*/ 3531188 w 3531998"/>
              <a:gd name="connsiteY3" fmla="*/ 2241499 h 2852936"/>
              <a:gd name="connsiteX4" fmla="*/ 3311816 w 3531998"/>
              <a:gd name="connsiteY4" fmla="*/ 2578272 h 2852936"/>
              <a:gd name="connsiteX5" fmla="*/ 3025965 w 3531998"/>
              <a:gd name="connsiteY5" fmla="*/ 2852936 h 2852936"/>
              <a:gd name="connsiteX6" fmla="*/ 0 w 3531998"/>
              <a:gd name="connsiteY6" fmla="*/ 2852936 h 285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31998" h="2852936">
                <a:moveTo>
                  <a:pt x="2961142" y="0"/>
                </a:moveTo>
                <a:lnTo>
                  <a:pt x="3531998" y="0"/>
                </a:lnTo>
                <a:lnTo>
                  <a:pt x="3531998" y="2239358"/>
                </a:lnTo>
                <a:lnTo>
                  <a:pt x="3531188" y="2241499"/>
                </a:lnTo>
                <a:cubicBezTo>
                  <a:pt x="3475046" y="2373298"/>
                  <a:pt x="3397487" y="2495960"/>
                  <a:pt x="3311816" y="2578272"/>
                </a:cubicBezTo>
                <a:lnTo>
                  <a:pt x="3025965" y="2852936"/>
                </a:lnTo>
                <a:lnTo>
                  <a:pt x="0" y="2852936"/>
                </a:lnTo>
                <a:close/>
              </a:path>
            </a:pathLst>
          </a:custGeom>
          <a:solidFill>
            <a:srgbClr val="005191">
              <a:alpha val="3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12"/>
          </p:nvPr>
        </p:nvSpPr>
        <p:spPr>
          <a:xfrm>
            <a:off x="9766470" y="1269106"/>
            <a:ext cx="2425530" cy="3969769"/>
          </a:xfrm>
          <a:custGeom>
            <a:avLst/>
            <a:gdLst>
              <a:gd name="connsiteX0" fmla="*/ 82560 w 2425530"/>
              <a:gd name="connsiteY0" fmla="*/ 25 h 3969769"/>
              <a:gd name="connsiteX1" fmla="*/ 187358 w 2425530"/>
              <a:gd name="connsiteY1" fmla="*/ 56422 h 3969769"/>
              <a:gd name="connsiteX2" fmla="*/ 2425530 w 2425530"/>
              <a:gd name="connsiteY2" fmla="*/ 2212808 h 3969769"/>
              <a:gd name="connsiteX3" fmla="*/ 2425530 w 2425530"/>
              <a:gd name="connsiteY3" fmla="*/ 3969769 h 3969769"/>
              <a:gd name="connsiteX4" fmla="*/ 187533 w 2425530"/>
              <a:gd name="connsiteY4" fmla="*/ 1819352 h 3969769"/>
              <a:gd name="connsiteX5" fmla="*/ 0 w 2425530"/>
              <a:gd name="connsiteY5" fmla="*/ 1379060 h 3969769"/>
              <a:gd name="connsiteX6" fmla="*/ 0 w 2425530"/>
              <a:gd name="connsiteY6" fmla="*/ 136140 h 3969769"/>
              <a:gd name="connsiteX7" fmla="*/ 82560 w 2425530"/>
              <a:gd name="connsiteY7" fmla="*/ 25 h 396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5530" h="3969769">
                <a:moveTo>
                  <a:pt x="82560" y="25"/>
                </a:moveTo>
                <a:cubicBezTo>
                  <a:pt x="112460" y="779"/>
                  <a:pt x="148517" y="19106"/>
                  <a:pt x="187358" y="56422"/>
                </a:cubicBezTo>
                <a:lnTo>
                  <a:pt x="2425530" y="2212808"/>
                </a:lnTo>
                <a:lnTo>
                  <a:pt x="2425530" y="3969769"/>
                </a:lnTo>
                <a:lnTo>
                  <a:pt x="187533" y="1819352"/>
                </a:lnTo>
                <a:cubicBezTo>
                  <a:pt x="83959" y="1719838"/>
                  <a:pt x="0" y="1522763"/>
                  <a:pt x="0" y="1379060"/>
                </a:cubicBezTo>
                <a:lnTo>
                  <a:pt x="0" y="136140"/>
                </a:lnTo>
                <a:cubicBezTo>
                  <a:pt x="0" y="46326"/>
                  <a:pt x="32728" y="-1232"/>
                  <a:pt x="82560" y="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3"/>
          </p:nvPr>
        </p:nvSpPr>
        <p:spPr>
          <a:xfrm>
            <a:off x="10846794" y="731163"/>
            <a:ext cx="1345206" cy="2758018"/>
          </a:xfrm>
          <a:custGeom>
            <a:avLst/>
            <a:gdLst>
              <a:gd name="connsiteX0" fmla="*/ 49027 w 1345206"/>
              <a:gd name="connsiteY0" fmla="*/ 4538 h 2758018"/>
              <a:gd name="connsiteX1" fmla="*/ 167504 w 1345206"/>
              <a:gd name="connsiteY1" fmla="*/ 50442 h 2758018"/>
              <a:gd name="connsiteX2" fmla="*/ 1345206 w 1345206"/>
              <a:gd name="connsiteY2" fmla="*/ 1185109 h 2758018"/>
              <a:gd name="connsiteX3" fmla="*/ 1345206 w 1345206"/>
              <a:gd name="connsiteY3" fmla="*/ 2758018 h 2758018"/>
              <a:gd name="connsiteX4" fmla="*/ 167661 w 1345206"/>
              <a:gd name="connsiteY4" fmla="*/ 1626553 h 2758018"/>
              <a:gd name="connsiteX5" fmla="*/ 0 w 1345206"/>
              <a:gd name="connsiteY5" fmla="*/ 1232920 h 2758018"/>
              <a:gd name="connsiteX6" fmla="*/ 0 w 1345206"/>
              <a:gd name="connsiteY6" fmla="*/ 121712 h 2758018"/>
              <a:gd name="connsiteX7" fmla="*/ 49027 w 1345206"/>
              <a:gd name="connsiteY7" fmla="*/ 4538 h 275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5206" h="2758018">
                <a:moveTo>
                  <a:pt x="49027" y="4538"/>
                </a:moveTo>
                <a:cubicBezTo>
                  <a:pt x="79329" y="-8341"/>
                  <a:pt x="121205" y="5960"/>
                  <a:pt x="167504" y="50442"/>
                </a:cubicBezTo>
                <a:lnTo>
                  <a:pt x="1345206" y="1185109"/>
                </a:lnTo>
                <a:lnTo>
                  <a:pt x="1345206" y="2758018"/>
                </a:lnTo>
                <a:lnTo>
                  <a:pt x="167661" y="1626553"/>
                </a:lnTo>
                <a:cubicBezTo>
                  <a:pt x="75062" y="1537586"/>
                  <a:pt x="0" y="1361394"/>
                  <a:pt x="0" y="1232920"/>
                </a:cubicBezTo>
                <a:lnTo>
                  <a:pt x="0" y="121712"/>
                </a:lnTo>
                <a:cubicBezTo>
                  <a:pt x="0" y="57475"/>
                  <a:pt x="18726" y="17417"/>
                  <a:pt x="49027" y="4538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51" name="Content Placeholder 2"/>
          <p:cNvSpPr>
            <a:spLocks noGrp="1"/>
          </p:cNvSpPr>
          <p:nvPr>
            <p:ph idx="1"/>
          </p:nvPr>
        </p:nvSpPr>
        <p:spPr>
          <a:xfrm>
            <a:off x="623887" y="1628801"/>
            <a:ext cx="6696249" cy="460848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52" name="Title 11"/>
          <p:cNvSpPr>
            <a:spLocks noGrp="1"/>
          </p:cNvSpPr>
          <p:nvPr>
            <p:ph type="title"/>
          </p:nvPr>
        </p:nvSpPr>
        <p:spPr>
          <a:xfrm>
            <a:off x="612457" y="332657"/>
            <a:ext cx="6707679" cy="108012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2BF41F4C-5B0A-4242-BF73-3A4CF1C2C1D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fld id="{A8E2384D-6198-4C83-B820-A81917A4F618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505614854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1">
    <p:bg>
      <p:bgPr>
        <a:solidFill>
          <a:srgbClr val="0051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7">
            <a:extLst>
              <a:ext uri="{FF2B5EF4-FFF2-40B4-BE49-F238E27FC236}">
                <a16:creationId xmlns:a16="http://schemas.microsoft.com/office/drawing/2014/main" id="{AF4F8AE9-F5F0-4F42-9819-FA35D49DFABF}"/>
              </a:ext>
            </a:extLst>
          </p:cNvPr>
          <p:cNvSpPr>
            <a:spLocks/>
          </p:cNvSpPr>
          <p:nvPr/>
        </p:nvSpPr>
        <p:spPr bwMode="auto">
          <a:xfrm>
            <a:off x="3843338" y="0"/>
            <a:ext cx="8348662" cy="6840538"/>
          </a:xfrm>
          <a:custGeom>
            <a:avLst/>
            <a:gdLst>
              <a:gd name="T0" fmla="*/ 6977688 w 8349070"/>
              <a:gd name="T1" fmla="*/ 0 h 6841154"/>
              <a:gd name="T2" fmla="*/ 8349070 w 8349070"/>
              <a:gd name="T3" fmla="*/ 0 h 6841154"/>
              <a:gd name="T4" fmla="*/ 8349070 w 8349070"/>
              <a:gd name="T5" fmla="*/ 5402533 h 6841154"/>
              <a:gd name="T6" fmla="*/ 6851859 w 8349070"/>
              <a:gd name="T7" fmla="*/ 6841154 h 6841154"/>
              <a:gd name="T8" fmla="*/ 0 w 8349070"/>
              <a:gd name="T9" fmla="*/ 6841154 h 6841154"/>
              <a:gd name="T10" fmla="*/ 55230 w 8349070"/>
              <a:gd name="T11" fmla="*/ 6746876 h 6841154"/>
              <a:gd name="T12" fmla="*/ 334016 w 8349070"/>
              <a:gd name="T13" fmla="*/ 6400901 h 684115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lnTo>
                  <a:pt x="6977688" y="0"/>
                </a:lnTo>
                <a:close/>
              </a:path>
            </a:pathLst>
          </a:custGeom>
          <a:solidFill>
            <a:schemeClr val="tx2">
              <a:alpha val="2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117" name="Title 11"/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429392B7-99B4-47D4-A728-F6D8B43AB68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5260AD2-6172-4B14-A105-8678D456A1E7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633145016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7">
            <a:extLst>
              <a:ext uri="{FF2B5EF4-FFF2-40B4-BE49-F238E27FC236}">
                <a16:creationId xmlns:a16="http://schemas.microsoft.com/office/drawing/2014/main" id="{468E12D5-7069-4E13-9388-420529F8A76F}"/>
              </a:ext>
            </a:extLst>
          </p:cNvPr>
          <p:cNvSpPr>
            <a:spLocks/>
          </p:cNvSpPr>
          <p:nvPr/>
        </p:nvSpPr>
        <p:spPr bwMode="auto">
          <a:xfrm>
            <a:off x="3843338" y="0"/>
            <a:ext cx="8348662" cy="6840538"/>
          </a:xfrm>
          <a:custGeom>
            <a:avLst/>
            <a:gdLst>
              <a:gd name="T0" fmla="*/ 6977688 w 8349070"/>
              <a:gd name="T1" fmla="*/ 0 h 6841154"/>
              <a:gd name="T2" fmla="*/ 8349070 w 8349070"/>
              <a:gd name="T3" fmla="*/ 0 h 6841154"/>
              <a:gd name="T4" fmla="*/ 8349070 w 8349070"/>
              <a:gd name="T5" fmla="*/ 5402533 h 6841154"/>
              <a:gd name="T6" fmla="*/ 6851859 w 8349070"/>
              <a:gd name="T7" fmla="*/ 6841154 h 6841154"/>
              <a:gd name="T8" fmla="*/ 0 w 8349070"/>
              <a:gd name="T9" fmla="*/ 6841154 h 6841154"/>
              <a:gd name="T10" fmla="*/ 55230 w 8349070"/>
              <a:gd name="T11" fmla="*/ 6746876 h 6841154"/>
              <a:gd name="T12" fmla="*/ 334016 w 8349070"/>
              <a:gd name="T13" fmla="*/ 6400901 h 684115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lnTo>
                  <a:pt x="6977688" y="0"/>
                </a:lnTo>
                <a:close/>
              </a:path>
            </a:pathLst>
          </a:custGeom>
          <a:solidFill>
            <a:srgbClr val="DC006B">
              <a:alpha val="1803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117" name="Title 11"/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77B25A50-DA9F-4533-ABD6-970EEFAFDA5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410D812-69C3-49DA-A1F8-50623EC7A430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204153240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7">
            <a:extLst>
              <a:ext uri="{FF2B5EF4-FFF2-40B4-BE49-F238E27FC236}">
                <a16:creationId xmlns:a16="http://schemas.microsoft.com/office/drawing/2014/main" id="{BD40A591-3BA9-481B-AFED-F62D906289F0}"/>
              </a:ext>
            </a:extLst>
          </p:cNvPr>
          <p:cNvSpPr>
            <a:spLocks/>
          </p:cNvSpPr>
          <p:nvPr/>
        </p:nvSpPr>
        <p:spPr bwMode="auto">
          <a:xfrm>
            <a:off x="3843338" y="0"/>
            <a:ext cx="8348662" cy="6840538"/>
          </a:xfrm>
          <a:custGeom>
            <a:avLst/>
            <a:gdLst>
              <a:gd name="T0" fmla="*/ 6977688 w 8349070"/>
              <a:gd name="T1" fmla="*/ 0 h 6841154"/>
              <a:gd name="T2" fmla="*/ 8349070 w 8349070"/>
              <a:gd name="T3" fmla="*/ 0 h 6841154"/>
              <a:gd name="T4" fmla="*/ 8349070 w 8349070"/>
              <a:gd name="T5" fmla="*/ 5402533 h 6841154"/>
              <a:gd name="T6" fmla="*/ 6851859 w 8349070"/>
              <a:gd name="T7" fmla="*/ 6841154 h 6841154"/>
              <a:gd name="T8" fmla="*/ 0 w 8349070"/>
              <a:gd name="T9" fmla="*/ 6841154 h 6841154"/>
              <a:gd name="T10" fmla="*/ 55230 w 8349070"/>
              <a:gd name="T11" fmla="*/ 6746876 h 6841154"/>
              <a:gd name="T12" fmla="*/ 334016 w 8349070"/>
              <a:gd name="T13" fmla="*/ 6400901 h 684115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lnTo>
                  <a:pt x="6977688" y="0"/>
                </a:lnTo>
                <a:close/>
              </a:path>
            </a:pathLst>
          </a:custGeom>
          <a:solidFill>
            <a:srgbClr val="009BA4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117" name="Title 11"/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5CC8DCCC-4E49-4CA4-9BAB-4C4608E500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6CE430-3986-4EAE-B0FF-58AEA953F03A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850593393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4">
    <p:bg>
      <p:bgPr>
        <a:solidFill>
          <a:srgbClr val="00A070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: Shape 7">
            <a:extLst>
              <a:ext uri="{FF2B5EF4-FFF2-40B4-BE49-F238E27FC236}">
                <a16:creationId xmlns:a16="http://schemas.microsoft.com/office/drawing/2014/main" id="{E674B3D6-2A43-4F66-BD96-4CEA4B38BAC1}"/>
              </a:ext>
            </a:extLst>
          </p:cNvPr>
          <p:cNvSpPr>
            <a:spLocks/>
          </p:cNvSpPr>
          <p:nvPr/>
        </p:nvSpPr>
        <p:spPr bwMode="auto">
          <a:xfrm>
            <a:off x="3843338" y="0"/>
            <a:ext cx="8348662" cy="6840538"/>
          </a:xfrm>
          <a:custGeom>
            <a:avLst/>
            <a:gdLst>
              <a:gd name="T0" fmla="*/ 6977688 w 8349070"/>
              <a:gd name="T1" fmla="*/ 0 h 6841154"/>
              <a:gd name="T2" fmla="*/ 8349070 w 8349070"/>
              <a:gd name="T3" fmla="*/ 0 h 6841154"/>
              <a:gd name="T4" fmla="*/ 8349070 w 8349070"/>
              <a:gd name="T5" fmla="*/ 5402533 h 6841154"/>
              <a:gd name="T6" fmla="*/ 6851859 w 8349070"/>
              <a:gd name="T7" fmla="*/ 6841154 h 6841154"/>
              <a:gd name="T8" fmla="*/ 0 w 8349070"/>
              <a:gd name="T9" fmla="*/ 6841154 h 6841154"/>
              <a:gd name="T10" fmla="*/ 55230 w 8349070"/>
              <a:gd name="T11" fmla="*/ 6746876 h 6841154"/>
              <a:gd name="T12" fmla="*/ 334016 w 8349070"/>
              <a:gd name="T13" fmla="*/ 6400901 h 684115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lnTo>
                  <a:pt x="6977688" y="0"/>
                </a:lnTo>
                <a:close/>
              </a:path>
            </a:pathLst>
          </a:custGeom>
          <a:solidFill>
            <a:schemeClr val="bg1">
              <a:alpha val="50195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125" name="Title 11"/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Slide Number Placeholder 2">
            <a:extLst>
              <a:ext uri="{FF2B5EF4-FFF2-40B4-BE49-F238E27FC236}">
                <a16:creationId xmlns:a16="http://schemas.microsoft.com/office/drawing/2014/main" id="{A98410DA-5111-4523-BBFA-5A5F1EB6DE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DF191FA-3A97-40D2-BFED-5674269F5ED1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742972722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10">
            <a:extLst>
              <a:ext uri="{FF2B5EF4-FFF2-40B4-BE49-F238E27FC236}">
                <a16:creationId xmlns:a16="http://schemas.microsoft.com/office/drawing/2014/main" id="{133ED160-334D-4B4D-8394-635B8E753F25}"/>
              </a:ext>
            </a:extLst>
          </p:cNvPr>
          <p:cNvSpPr>
            <a:spLocks/>
          </p:cNvSpPr>
          <p:nvPr/>
        </p:nvSpPr>
        <p:spPr bwMode="auto">
          <a:xfrm>
            <a:off x="4670425" y="333375"/>
            <a:ext cx="6169025" cy="6507163"/>
          </a:xfrm>
          <a:custGeom>
            <a:avLst/>
            <a:gdLst>
              <a:gd name="T0" fmla="*/ 5982236 w 6168665"/>
              <a:gd name="T1" fmla="*/ 55 h 6506999"/>
              <a:gd name="T2" fmla="*/ 6168665 w 6168665"/>
              <a:gd name="T3" fmla="*/ 307414 h 6506999"/>
              <a:gd name="T4" fmla="*/ 6168665 w 6168665"/>
              <a:gd name="T5" fmla="*/ 3114034 h 6506999"/>
              <a:gd name="T6" fmla="*/ 5745199 w 6168665"/>
              <a:gd name="T7" fmla="*/ 4108249 h 6506999"/>
              <a:gd name="T8" fmla="*/ 3248756 w 6168665"/>
              <a:gd name="T9" fmla="*/ 6506999 h 6506999"/>
              <a:gd name="T10" fmla="*/ 0 w 6168665"/>
              <a:gd name="T11" fmla="*/ 6506999 h 6506999"/>
              <a:gd name="T12" fmla="*/ 1037 w 6168665"/>
              <a:gd name="T13" fmla="*/ 6246740 h 6506999"/>
              <a:gd name="T14" fmla="*/ 426494 w 6168665"/>
              <a:gd name="T15" fmla="*/ 5252136 h 6506999"/>
              <a:gd name="T16" fmla="*/ 5745595 w 6168665"/>
              <a:gd name="T17" fmla="*/ 127404 h 6506999"/>
              <a:gd name="T18" fmla="*/ 5982236 w 6168665"/>
              <a:gd name="T19" fmla="*/ 55 h 650699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6168665" h="6506999">
                <a:moveTo>
                  <a:pt x="5982236" y="55"/>
                </a:moveTo>
                <a:cubicBezTo>
                  <a:pt x="6094763" y="-2782"/>
                  <a:pt x="6168665" y="104606"/>
                  <a:pt x="6168665" y="307414"/>
                </a:cubicBezTo>
                <a:lnTo>
                  <a:pt x="6168665" y="3114034"/>
                </a:lnTo>
                <a:cubicBezTo>
                  <a:pt x="6168665" y="3438526"/>
                  <a:pt x="5979079" y="3883540"/>
                  <a:pt x="5745199" y="4108249"/>
                </a:cubicBezTo>
                <a:lnTo>
                  <a:pt x="3248756" y="6506999"/>
                </a:lnTo>
                <a:lnTo>
                  <a:pt x="0" y="6506999"/>
                </a:lnTo>
                <a:lnTo>
                  <a:pt x="1037" y="6246740"/>
                </a:lnTo>
                <a:cubicBezTo>
                  <a:pt x="1037" y="5922256"/>
                  <a:pt x="193010" y="5477233"/>
                  <a:pt x="426494" y="5252136"/>
                </a:cubicBezTo>
                <a:lnTo>
                  <a:pt x="5745595" y="127404"/>
                </a:lnTo>
                <a:cubicBezTo>
                  <a:pt x="5833300" y="43141"/>
                  <a:pt x="5914720" y="1758"/>
                  <a:pt x="5982236" y="55"/>
                </a:cubicBezTo>
                <a:close/>
              </a:path>
            </a:pathLst>
          </a:custGeom>
          <a:solidFill>
            <a:srgbClr val="00A070">
              <a:alpha val="7607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6" name="Freeform: Shape 12">
            <a:extLst>
              <a:ext uri="{FF2B5EF4-FFF2-40B4-BE49-F238E27FC236}">
                <a16:creationId xmlns:a16="http://schemas.microsoft.com/office/drawing/2014/main" id="{2076B0D8-936A-4322-987A-6228E95EE308}"/>
              </a:ext>
            </a:extLst>
          </p:cNvPr>
          <p:cNvSpPr>
            <a:spLocks/>
          </p:cNvSpPr>
          <p:nvPr/>
        </p:nvSpPr>
        <p:spPr bwMode="auto">
          <a:xfrm>
            <a:off x="7104063" y="855663"/>
            <a:ext cx="2174875" cy="3295650"/>
          </a:xfrm>
          <a:custGeom>
            <a:avLst/>
            <a:gdLst>
              <a:gd name="T0" fmla="*/ 5476 w 716872"/>
              <a:gd name="T1" fmla="*/ 2198885 h 1086078"/>
              <a:gd name="T2" fmla="*/ 155220 w 716872"/>
              <a:gd name="T3" fmla="*/ 1848823 h 1086078"/>
              <a:gd name="T4" fmla="*/ 2027337 w 716872"/>
              <a:gd name="T5" fmla="*/ 45116 h 1086078"/>
              <a:gd name="T6" fmla="*/ 2176241 w 716872"/>
              <a:gd name="T7" fmla="*/ 108472 h 1086078"/>
              <a:gd name="T8" fmla="*/ 2176241 w 716872"/>
              <a:gd name="T9" fmla="*/ 1096293 h 1086078"/>
              <a:gd name="T10" fmla="*/ 2027197 w 716872"/>
              <a:gd name="T11" fmla="*/ 1446219 h 1086078"/>
              <a:gd name="T12" fmla="*/ 149741 w 716872"/>
              <a:gd name="T13" fmla="*/ 3250205 h 1086078"/>
              <a:gd name="T14" fmla="*/ 1541 w 716872"/>
              <a:gd name="T15" fmla="*/ 3186709 h 108607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lnTo>
                  <a:pt x="1805" y="724844"/>
                </a:lnTo>
                <a:close/>
              </a:path>
            </a:pathLst>
          </a:custGeom>
          <a:solidFill>
            <a:srgbClr val="E9473D">
              <a:alpha val="4509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1"/>
          </p:nvPr>
        </p:nvSpPr>
        <p:spPr>
          <a:xfrm>
            <a:off x="0" y="-13402"/>
            <a:ext cx="904832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623890" y="2636913"/>
            <a:ext cx="10944222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1" name="Text Placeholder 120"/>
          <p:cNvSpPr>
            <a:spLocks noGrp="1"/>
          </p:cNvSpPr>
          <p:nvPr>
            <p:ph type="body" sz="quarter" idx="14"/>
          </p:nvPr>
        </p:nvSpPr>
        <p:spPr>
          <a:xfrm>
            <a:off x="6669672" y="1197179"/>
            <a:ext cx="3374582" cy="5112571"/>
          </a:xfrm>
          <a:custGeom>
            <a:avLst/>
            <a:gdLst>
              <a:gd name="connsiteX0" fmla="*/ 101819 w 3374582"/>
              <a:gd name="connsiteY0" fmla="*/ 30 h 5112571"/>
              <a:gd name="connsiteX1" fmla="*/ 231061 w 3374582"/>
              <a:gd name="connsiteY1" fmla="*/ 69582 h 5112571"/>
              <a:gd name="connsiteX2" fmla="*/ 3136108 w 3374582"/>
              <a:gd name="connsiteY2" fmla="*/ 2868474 h 5112571"/>
              <a:gd name="connsiteX3" fmla="*/ 3368473 w 3374582"/>
              <a:gd name="connsiteY3" fmla="*/ 3411681 h 5112571"/>
              <a:gd name="connsiteX4" fmla="*/ 3374579 w 3374582"/>
              <a:gd name="connsiteY4" fmla="*/ 4944532 h 5112571"/>
              <a:gd name="connsiteX5" fmla="*/ 3144610 w 3374582"/>
              <a:gd name="connsiteY5" fmla="*/ 5043062 h 5112571"/>
              <a:gd name="connsiteX6" fmla="*/ 231277 w 3374582"/>
              <a:gd name="connsiteY6" fmla="*/ 2243736 h 5112571"/>
              <a:gd name="connsiteX7" fmla="*/ 0 w 3374582"/>
              <a:gd name="connsiteY7" fmla="*/ 1700741 h 5112571"/>
              <a:gd name="connsiteX8" fmla="*/ 0 w 3374582"/>
              <a:gd name="connsiteY8" fmla="*/ 167895 h 5112571"/>
              <a:gd name="connsiteX9" fmla="*/ 101819 w 3374582"/>
              <a:gd name="connsiteY9" fmla="*/ 30 h 511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74582" h="5112571">
                <a:moveTo>
                  <a:pt x="101819" y="30"/>
                </a:moveTo>
                <a:cubicBezTo>
                  <a:pt x="138693" y="960"/>
                  <a:pt x="183161" y="23562"/>
                  <a:pt x="231061" y="69582"/>
                </a:cubicBezTo>
                <a:lnTo>
                  <a:pt x="3136108" y="2868474"/>
                </a:lnTo>
                <a:cubicBezTo>
                  <a:pt x="3263626" y="2991412"/>
                  <a:pt x="3368473" y="3234463"/>
                  <a:pt x="3368473" y="3411681"/>
                </a:cubicBezTo>
                <a:lnTo>
                  <a:pt x="3374579" y="4944532"/>
                </a:lnTo>
                <a:cubicBezTo>
                  <a:pt x="3375233" y="5121750"/>
                  <a:pt x="3272344" y="5165783"/>
                  <a:pt x="3144610" y="5043062"/>
                </a:cubicBezTo>
                <a:lnTo>
                  <a:pt x="231277" y="2243736"/>
                </a:lnTo>
                <a:cubicBezTo>
                  <a:pt x="103543" y="2121010"/>
                  <a:pt x="0" y="1877964"/>
                  <a:pt x="0" y="1700741"/>
                </a:cubicBezTo>
                <a:lnTo>
                  <a:pt x="0" y="167895"/>
                </a:lnTo>
                <a:cubicBezTo>
                  <a:pt x="0" y="57131"/>
                  <a:pt x="40362" y="-1519"/>
                  <a:pt x="101819" y="30"/>
                </a:cubicBezTo>
                <a:close/>
              </a:path>
            </a:pathLst>
          </a:custGeom>
          <a:solidFill>
            <a:schemeClr val="accent4">
              <a:alpha val="30000"/>
            </a:scheme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4B496C8F-849E-4B4F-A171-02E39D984AC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57032330-E95E-4F38-A923-8E36E7408B40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99001685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4">
            <a:extLst>
              <a:ext uri="{FF2B5EF4-FFF2-40B4-BE49-F238E27FC236}">
                <a16:creationId xmlns:a16="http://schemas.microsoft.com/office/drawing/2014/main" id="{4B1C93AA-B6DD-4E60-88D4-F234BD1FAE53}"/>
              </a:ext>
            </a:extLst>
          </p:cNvPr>
          <p:cNvSpPr>
            <a:spLocks/>
          </p:cNvSpPr>
          <p:nvPr/>
        </p:nvSpPr>
        <p:spPr bwMode="auto">
          <a:xfrm flipV="1">
            <a:off x="2554288" y="1903413"/>
            <a:ext cx="3400425" cy="4954587"/>
          </a:xfrm>
          <a:custGeom>
            <a:avLst/>
            <a:gdLst>
              <a:gd name="T0" fmla="*/ 101690 w 3400879"/>
              <a:gd name="T1" fmla="*/ 4954291 h 4954318"/>
              <a:gd name="T2" fmla="*/ 231765 w 3400879"/>
              <a:gd name="T3" fmla="*/ 4884267 h 4954318"/>
              <a:gd name="T4" fmla="*/ 3167799 w 3400879"/>
              <a:gd name="T5" fmla="*/ 2063128 h 4954318"/>
              <a:gd name="T6" fmla="*/ 3400879 w 3400879"/>
              <a:gd name="T7" fmla="*/ 1515903 h 4954318"/>
              <a:gd name="T8" fmla="*/ 3400879 w 3400879"/>
              <a:gd name="T9" fmla="*/ 0 h 4954318"/>
              <a:gd name="T10" fmla="*/ 3035197 w 3400879"/>
              <a:gd name="T11" fmla="*/ 0 h 4954318"/>
              <a:gd name="T12" fmla="*/ 240333 w 3400879"/>
              <a:gd name="T13" fmla="*/ 2692735 h 4954318"/>
              <a:gd name="T14" fmla="*/ 6157 w 3400879"/>
              <a:gd name="T15" fmla="*/ 3240174 h 4954318"/>
              <a:gd name="T16" fmla="*/ 4 w 3400879"/>
              <a:gd name="T17" fmla="*/ 4784970 h 4954318"/>
              <a:gd name="T18" fmla="*/ 101690 w 3400879"/>
              <a:gd name="T19" fmla="*/ 4954291 h 495431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6" name="Freeform: Shape 45">
            <a:extLst>
              <a:ext uri="{FF2B5EF4-FFF2-40B4-BE49-F238E27FC236}">
                <a16:creationId xmlns:a16="http://schemas.microsoft.com/office/drawing/2014/main" id="{8D85FB64-AEEE-4704-87C3-633226B681E1}"/>
              </a:ext>
            </a:extLst>
          </p:cNvPr>
          <p:cNvSpPr>
            <a:spLocks/>
          </p:cNvSpPr>
          <p:nvPr/>
        </p:nvSpPr>
        <p:spPr bwMode="auto">
          <a:xfrm>
            <a:off x="468313" y="0"/>
            <a:ext cx="7499350" cy="6858000"/>
          </a:xfrm>
          <a:custGeom>
            <a:avLst/>
            <a:gdLst>
              <a:gd name="T0" fmla="*/ 6867977 w 7503995"/>
              <a:gd name="T1" fmla="*/ 0 h 6845197"/>
              <a:gd name="T2" fmla="*/ 7489937 w 7503995"/>
              <a:gd name="T3" fmla="*/ 0 h 6845197"/>
              <a:gd name="T4" fmla="*/ 7494973 w 7503995"/>
              <a:gd name="T5" fmla="*/ 31800 h 6845197"/>
              <a:gd name="T6" fmla="*/ 7499182 w 7503995"/>
              <a:gd name="T7" fmla="*/ 120737 h 6845197"/>
              <a:gd name="T8" fmla="*/ 7499182 w 7503995"/>
              <a:gd name="T9" fmla="*/ 3609331 h 6845197"/>
              <a:gd name="T10" fmla="*/ 6974138 w 7503995"/>
              <a:gd name="T11" fmla="*/ 4845129 h 6845197"/>
              <a:gd name="T12" fmla="*/ 4884541 w 7503995"/>
              <a:gd name="T13" fmla="*/ 6858000 h 6845197"/>
              <a:gd name="T14" fmla="*/ 0 w 7503995"/>
              <a:gd name="T15" fmla="*/ 6858000 h 6845197"/>
              <a:gd name="T16" fmla="*/ 7313 w 7503995"/>
              <a:gd name="T17" fmla="*/ 6838780 h 6845197"/>
              <a:gd name="T18" fmla="*/ 379628 w 7503995"/>
              <a:gd name="T19" fmla="*/ 6266967 h 684519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lnTo>
                  <a:pt x="6872385" y="0"/>
                </a:lnTo>
                <a:close/>
              </a:path>
            </a:pathLst>
          </a:custGeom>
          <a:solidFill>
            <a:srgbClr val="00A070">
              <a:alpha val="20000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E217B3-9ED3-4FD3-9935-CFC023060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550" y="250825"/>
            <a:ext cx="1282700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42FDBEA0-40CC-4E23-83A4-05F54DCBAD3B}"/>
              </a:ext>
            </a:extLst>
          </p:cNvPr>
          <p:cNvPicPr>
            <a:picLocks noChangeAspect="1"/>
          </p:cNvPicPr>
          <p:nvPr/>
        </p:nvPicPr>
        <p:blipFill>
          <a:blip r:embed="rId3" cstate="hqprint"/>
          <a:stretch>
            <a:fillRect/>
          </a:stretch>
        </p:blipFill>
        <p:spPr>
          <a:xfrm>
            <a:off x="627063" y="334963"/>
            <a:ext cx="1668462" cy="1008062"/>
          </a:xfrm>
          <a:prstGeom prst="rect">
            <a:avLst/>
          </a:prstGeom>
        </p:spPr>
      </p:pic>
      <p:sp>
        <p:nvSpPr>
          <p:cNvPr id="9" name="Freeform: Shape 40">
            <a:extLst>
              <a:ext uri="{FF2B5EF4-FFF2-40B4-BE49-F238E27FC236}">
                <a16:creationId xmlns:a16="http://schemas.microsoft.com/office/drawing/2014/main" id="{525D0044-8DB3-4AC1-AF80-64CF1F9C3375}"/>
              </a:ext>
            </a:extLst>
          </p:cNvPr>
          <p:cNvSpPr/>
          <p:nvPr/>
        </p:nvSpPr>
        <p:spPr>
          <a:xfrm>
            <a:off x="0" y="2852738"/>
            <a:ext cx="3001963" cy="4005262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</a:endParaRPr>
          </a:p>
        </p:txBody>
      </p:sp>
      <p:sp>
        <p:nvSpPr>
          <p:cNvPr id="10" name="Freeform: Shape 43">
            <a:extLst>
              <a:ext uri="{FF2B5EF4-FFF2-40B4-BE49-F238E27FC236}">
                <a16:creationId xmlns:a16="http://schemas.microsoft.com/office/drawing/2014/main" id="{E6A37957-1195-4DC8-98CF-B00C57D9D77B}"/>
              </a:ext>
            </a:extLst>
          </p:cNvPr>
          <p:cNvSpPr/>
          <p:nvPr/>
        </p:nvSpPr>
        <p:spPr>
          <a:xfrm flipH="1" flipV="1">
            <a:off x="5086350" y="2705100"/>
            <a:ext cx="3746500" cy="4152900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</a:endParaRP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31A2ED63-73A1-4929-8529-3C45A9BF00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525" y="2708275"/>
            <a:ext cx="4319588" cy="244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Freeform: Shape 48">
            <a:extLst>
              <a:ext uri="{FF2B5EF4-FFF2-40B4-BE49-F238E27FC236}">
                <a16:creationId xmlns:a16="http://schemas.microsoft.com/office/drawing/2014/main" id="{B2F1F4FB-9C36-406C-97EF-6970D95EA77F}"/>
              </a:ext>
            </a:extLst>
          </p:cNvPr>
          <p:cNvSpPr>
            <a:spLocks/>
          </p:cNvSpPr>
          <p:nvPr/>
        </p:nvSpPr>
        <p:spPr bwMode="auto">
          <a:xfrm flipV="1">
            <a:off x="5997575" y="3857625"/>
            <a:ext cx="3263900" cy="3013075"/>
          </a:xfrm>
          <a:custGeom>
            <a:avLst/>
            <a:gdLst>
              <a:gd name="T0" fmla="*/ 101690 w 3263724"/>
              <a:gd name="T1" fmla="*/ 3013584 h 3013611"/>
              <a:gd name="T2" fmla="*/ 231765 w 3263724"/>
              <a:gd name="T3" fmla="*/ 2943560 h 3013611"/>
              <a:gd name="T4" fmla="*/ 3167799 w 3263724"/>
              <a:gd name="T5" fmla="*/ 122421 h 3013611"/>
              <a:gd name="T6" fmla="*/ 3258526 w 3263724"/>
              <a:gd name="T7" fmla="*/ 9855 h 3013611"/>
              <a:gd name="T8" fmla="*/ 3263724 w 3263724"/>
              <a:gd name="T9" fmla="*/ 0 h 3013611"/>
              <a:gd name="T10" fmla="*/ 1020884 w 3263724"/>
              <a:gd name="T11" fmla="*/ 0 h 3013611"/>
              <a:gd name="T12" fmla="*/ 240333 w 3263724"/>
              <a:gd name="T13" fmla="*/ 752028 h 3013611"/>
              <a:gd name="T14" fmla="*/ 6157 w 3263724"/>
              <a:gd name="T15" fmla="*/ 1299467 h 3013611"/>
              <a:gd name="T16" fmla="*/ 4 w 3263724"/>
              <a:gd name="T17" fmla="*/ 2844263 h 3013611"/>
              <a:gd name="T18" fmla="*/ 101690 w 3263724"/>
              <a:gd name="T19" fmla="*/ 3013584 h 3013611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196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pic>
        <p:nvPicPr>
          <p:cNvPr id="13" name="Graphic 8">
            <a:extLst>
              <a:ext uri="{FF2B5EF4-FFF2-40B4-BE49-F238E27FC236}">
                <a16:creationId xmlns:a16="http://schemas.microsoft.com/office/drawing/2014/main" id="{E2D4A4F0-9D2E-4A19-9EA6-B5BFFDA69743}"/>
              </a:ext>
            </a:extLst>
          </p:cNvPr>
          <p:cNvPicPr>
            <a:picLocks noChangeAspect="1"/>
          </p:cNvPicPr>
          <p:nvPr/>
        </p:nvPicPr>
        <p:blipFill>
          <a:blip r:embed="rId5" cstate="hqprint"/>
          <a:stretch>
            <a:fillRect/>
          </a:stretch>
        </p:blipFill>
        <p:spPr>
          <a:xfrm>
            <a:off x="6581775" y="5351463"/>
            <a:ext cx="592138" cy="395287"/>
          </a:xfrm>
          <a:prstGeom prst="rect">
            <a:avLst/>
          </a:prstGeom>
        </p:spPr>
      </p:pic>
      <p:sp>
        <p:nvSpPr>
          <p:cNvPr id="25" name="Picture Placeholder 24"/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659305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/>
          <p:cNvSpPr>
            <a:spLocks noGrp="1"/>
          </p:cNvSpPr>
          <p:nvPr>
            <p:ph type="body" sz="quarter" idx="15"/>
          </p:nvPr>
        </p:nvSpPr>
        <p:spPr>
          <a:xfrm>
            <a:off x="3884353" y="0"/>
            <a:ext cx="8307649" cy="6858000"/>
          </a:xfrm>
          <a:custGeom>
            <a:avLst/>
            <a:gdLst>
              <a:gd name="connsiteX0" fmla="*/ 5698023 w 8307649"/>
              <a:gd name="connsiteY0" fmla="*/ 0 h 6858000"/>
              <a:gd name="connsiteX1" fmla="*/ 8307649 w 8307649"/>
              <a:gd name="connsiteY1" fmla="*/ 0 h 6858000"/>
              <a:gd name="connsiteX2" fmla="*/ 8307649 w 8307649"/>
              <a:gd name="connsiteY2" fmla="*/ 3284129 h 6858000"/>
              <a:gd name="connsiteX3" fmla="*/ 4588225 w 8307649"/>
              <a:gd name="connsiteY3" fmla="*/ 6858000 h 6858000"/>
              <a:gd name="connsiteX4" fmla="*/ 0 w 8307649"/>
              <a:gd name="connsiteY4" fmla="*/ 6858000 h 6858000"/>
              <a:gd name="connsiteX5" fmla="*/ 2065 w 8307649"/>
              <a:gd name="connsiteY5" fmla="*/ 6339573 h 6858000"/>
              <a:gd name="connsiteX6" fmla="*/ 621851 w 8307649"/>
              <a:gd name="connsiteY6" fmla="*/ 48906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07649" h="6858000">
                <a:moveTo>
                  <a:pt x="5698023" y="0"/>
                </a:moveTo>
                <a:lnTo>
                  <a:pt x="8307649" y="0"/>
                </a:lnTo>
                <a:lnTo>
                  <a:pt x="8307649" y="3284129"/>
                </a:lnTo>
                <a:lnTo>
                  <a:pt x="4588225" y="6858000"/>
                </a:lnTo>
                <a:lnTo>
                  <a:pt x="0" y="6858000"/>
                </a:lnTo>
                <a:lnTo>
                  <a:pt x="2065" y="6339573"/>
                </a:lnTo>
                <a:cubicBezTo>
                  <a:pt x="2065" y="5866880"/>
                  <a:pt x="281723" y="5218592"/>
                  <a:pt x="621851" y="4890681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1"/>
          </p:nvPr>
        </p:nvSpPr>
        <p:spPr>
          <a:xfrm>
            <a:off x="9050553" y="0"/>
            <a:ext cx="2566530" cy="2324996"/>
          </a:xfrm>
          <a:custGeom>
            <a:avLst/>
            <a:gdLst>
              <a:gd name="connsiteX0" fmla="*/ 465501 w 2566530"/>
              <a:gd name="connsiteY0" fmla="*/ 0 h 2324996"/>
              <a:gd name="connsiteX1" fmla="*/ 2566530 w 2566530"/>
              <a:gd name="connsiteY1" fmla="*/ 0 h 2324996"/>
              <a:gd name="connsiteX2" fmla="*/ 214236 w 2566530"/>
              <a:gd name="connsiteY2" fmla="*/ 2260243 h 2324996"/>
              <a:gd name="connsiteX3" fmla="*/ 3 w 2566530"/>
              <a:gd name="connsiteY3" fmla="*/ 2168455 h 2324996"/>
              <a:gd name="connsiteX4" fmla="*/ 5690 w 2566530"/>
              <a:gd name="connsiteY4" fmla="*/ 740490 h 2324996"/>
              <a:gd name="connsiteX5" fmla="*/ 222156 w 2566530"/>
              <a:gd name="connsiteY5" fmla="*/ 234452 h 232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6530" h="2324996">
                <a:moveTo>
                  <a:pt x="465501" y="0"/>
                </a:moveTo>
                <a:lnTo>
                  <a:pt x="2566530" y="0"/>
                </a:lnTo>
                <a:lnTo>
                  <a:pt x="214236" y="2260243"/>
                </a:lnTo>
                <a:cubicBezTo>
                  <a:pt x="95242" y="2374566"/>
                  <a:pt x="-607" y="2333547"/>
                  <a:pt x="3" y="2168455"/>
                </a:cubicBezTo>
                <a:lnTo>
                  <a:pt x="5690" y="740490"/>
                </a:lnTo>
                <a:cubicBezTo>
                  <a:pt x="5690" y="575398"/>
                  <a:pt x="103363" y="348978"/>
                  <a:pt x="222156" y="2344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25" name="Picture Placeholder 24"/>
          <p:cNvSpPr>
            <a:spLocks noGrp="1"/>
          </p:cNvSpPr>
          <p:nvPr>
            <p:ph type="pic" sz="quarter" idx="12"/>
          </p:nvPr>
        </p:nvSpPr>
        <p:spPr>
          <a:xfrm>
            <a:off x="10850755" y="1"/>
            <a:ext cx="1341247" cy="2863547"/>
          </a:xfrm>
          <a:custGeom>
            <a:avLst/>
            <a:gdLst>
              <a:gd name="connsiteX0" fmla="*/ 1024478 w 1341247"/>
              <a:gd name="connsiteY0" fmla="*/ 0 h 2863547"/>
              <a:gd name="connsiteX1" fmla="*/ 1341247 w 1341247"/>
              <a:gd name="connsiteY1" fmla="*/ 0 h 2863547"/>
              <a:gd name="connsiteX2" fmla="*/ 1341247 w 1341247"/>
              <a:gd name="connsiteY2" fmla="*/ 1715886 h 2863547"/>
              <a:gd name="connsiteX3" fmla="*/ 214236 w 1341247"/>
              <a:gd name="connsiteY3" fmla="*/ 2798794 h 2863547"/>
              <a:gd name="connsiteX4" fmla="*/ 3 w 1341247"/>
              <a:gd name="connsiteY4" fmla="*/ 2707006 h 2863547"/>
              <a:gd name="connsiteX5" fmla="*/ 5690 w 1341247"/>
              <a:gd name="connsiteY5" fmla="*/ 1279041 h 2863547"/>
              <a:gd name="connsiteX6" fmla="*/ 222156 w 1341247"/>
              <a:gd name="connsiteY6" fmla="*/ 773003 h 2863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1247" h="2863547">
                <a:moveTo>
                  <a:pt x="1024478" y="0"/>
                </a:moveTo>
                <a:lnTo>
                  <a:pt x="1341247" y="0"/>
                </a:lnTo>
                <a:lnTo>
                  <a:pt x="1341247" y="1715886"/>
                </a:lnTo>
                <a:lnTo>
                  <a:pt x="214236" y="2798794"/>
                </a:lnTo>
                <a:cubicBezTo>
                  <a:pt x="95242" y="2913117"/>
                  <a:pt x="-607" y="2872098"/>
                  <a:pt x="3" y="2707006"/>
                </a:cubicBezTo>
                <a:lnTo>
                  <a:pt x="5690" y="1279041"/>
                </a:lnTo>
                <a:cubicBezTo>
                  <a:pt x="5690" y="1113949"/>
                  <a:pt x="103363" y="887529"/>
                  <a:pt x="222156" y="77300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38" name="Content Placeholder 2"/>
          <p:cNvSpPr>
            <a:spLocks noGrp="1"/>
          </p:cNvSpPr>
          <p:nvPr>
            <p:ph idx="1"/>
          </p:nvPr>
        </p:nvSpPr>
        <p:spPr>
          <a:xfrm>
            <a:off x="623888" y="3067997"/>
            <a:ext cx="5314076" cy="31692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39" name="Title 11"/>
          <p:cNvSpPr>
            <a:spLocks noGrp="1"/>
          </p:cNvSpPr>
          <p:nvPr>
            <p:ph type="title"/>
          </p:nvPr>
        </p:nvSpPr>
        <p:spPr>
          <a:xfrm>
            <a:off x="612457" y="1628800"/>
            <a:ext cx="6707679" cy="108012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41" name="Content Placeholder 2"/>
          <p:cNvSpPr>
            <a:spLocks noGrp="1"/>
          </p:cNvSpPr>
          <p:nvPr>
            <p:ph idx="13"/>
          </p:nvPr>
        </p:nvSpPr>
        <p:spPr>
          <a:xfrm>
            <a:off x="6254038" y="3067997"/>
            <a:ext cx="5314076" cy="316929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44" name="Text Placeholder 143"/>
          <p:cNvSpPr>
            <a:spLocks noGrp="1"/>
          </p:cNvSpPr>
          <p:nvPr>
            <p:ph type="body" sz="quarter" idx="14"/>
          </p:nvPr>
        </p:nvSpPr>
        <p:spPr>
          <a:xfrm>
            <a:off x="7760934" y="1340101"/>
            <a:ext cx="4431067" cy="5517900"/>
          </a:xfrm>
          <a:custGeom>
            <a:avLst/>
            <a:gdLst>
              <a:gd name="connsiteX0" fmla="*/ 157026 w 4431067"/>
              <a:gd name="connsiteY0" fmla="*/ 43 h 5517900"/>
              <a:gd name="connsiteX1" fmla="*/ 357885 w 4431067"/>
              <a:gd name="connsiteY1" fmla="*/ 108172 h 5517900"/>
              <a:gd name="connsiteX2" fmla="*/ 4431067 w 4431067"/>
              <a:gd name="connsiteY2" fmla="*/ 4021958 h 5517900"/>
              <a:gd name="connsiteX3" fmla="*/ 4431067 w 4431067"/>
              <a:gd name="connsiteY3" fmla="*/ 5517900 h 5517900"/>
              <a:gd name="connsiteX4" fmla="*/ 2473557 w 4431067"/>
              <a:gd name="connsiteY4" fmla="*/ 5517900 h 5517900"/>
              <a:gd name="connsiteX5" fmla="*/ 371115 w 4431067"/>
              <a:gd name="connsiteY5" fmla="*/ 3492284 h 5517900"/>
              <a:gd name="connsiteX6" fmla="*/ 9506 w 4431067"/>
              <a:gd name="connsiteY6" fmla="*/ 2646941 h 5517900"/>
              <a:gd name="connsiteX7" fmla="*/ 5 w 4431067"/>
              <a:gd name="connsiteY7" fmla="*/ 261505 h 5517900"/>
              <a:gd name="connsiteX8" fmla="*/ 157026 w 4431067"/>
              <a:gd name="connsiteY8" fmla="*/ 43 h 55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1067" h="5517900">
                <a:moveTo>
                  <a:pt x="157026" y="43"/>
                </a:moveTo>
                <a:cubicBezTo>
                  <a:pt x="214236" y="1430"/>
                  <a:pt x="283342" y="36555"/>
                  <a:pt x="357885" y="108172"/>
                </a:cubicBezTo>
                <a:lnTo>
                  <a:pt x="4431067" y="4021958"/>
                </a:lnTo>
                <a:lnTo>
                  <a:pt x="4431067" y="5517900"/>
                </a:lnTo>
                <a:lnTo>
                  <a:pt x="2473557" y="5517900"/>
                </a:lnTo>
                <a:lnTo>
                  <a:pt x="371115" y="3492284"/>
                </a:lnTo>
                <a:cubicBezTo>
                  <a:pt x="172670" y="3300968"/>
                  <a:pt x="9506" y="2922730"/>
                  <a:pt x="9506" y="2646941"/>
                </a:cubicBezTo>
                <a:lnTo>
                  <a:pt x="5" y="261505"/>
                </a:lnTo>
                <a:cubicBezTo>
                  <a:pt x="-632" y="89137"/>
                  <a:pt x="61675" y="-2268"/>
                  <a:pt x="157026" y="43"/>
                </a:cubicBezTo>
                <a:close/>
              </a:path>
            </a:pathLst>
          </a:custGeom>
          <a:solidFill>
            <a:srgbClr val="750D68">
              <a:alpha val="1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19165358-A461-445E-90DA-9F3966510C5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DCAF3E01-9B6D-4329-B756-2776A35756B3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312738462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1"/>
          </p:nvPr>
        </p:nvSpPr>
        <p:spPr>
          <a:xfrm>
            <a:off x="3487286" y="0"/>
            <a:ext cx="8704714" cy="6858000"/>
          </a:xfrm>
          <a:custGeom>
            <a:avLst/>
            <a:gdLst>
              <a:gd name="connsiteX0" fmla="*/ 2756259 w 8704714"/>
              <a:gd name="connsiteY0" fmla="*/ 0 h 6841154"/>
              <a:gd name="connsiteX1" fmla="*/ 8704714 w 8704714"/>
              <a:gd name="connsiteY1" fmla="*/ 0 h 6841154"/>
              <a:gd name="connsiteX2" fmla="*/ 8704714 w 8704714"/>
              <a:gd name="connsiteY2" fmla="*/ 2314108 h 6841154"/>
              <a:gd name="connsiteX3" fmla="*/ 3993297 w 8704714"/>
              <a:gd name="connsiteY3" fmla="*/ 6841154 h 6841154"/>
              <a:gd name="connsiteX4" fmla="*/ 0 w 8704714"/>
              <a:gd name="connsiteY4" fmla="*/ 6841154 h 6841154"/>
              <a:gd name="connsiteX5" fmla="*/ 12006 w 8704714"/>
              <a:gd name="connsiteY5" fmla="*/ 3826853 h 6841154"/>
              <a:gd name="connsiteX6" fmla="*/ 872739 w 8704714"/>
              <a:gd name="connsiteY6" fmla="*/ 1814693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4714" h="6841154">
                <a:moveTo>
                  <a:pt x="2756259" y="0"/>
                </a:moveTo>
                <a:lnTo>
                  <a:pt x="8704714" y="0"/>
                </a:lnTo>
                <a:lnTo>
                  <a:pt x="8704714" y="2314108"/>
                </a:lnTo>
                <a:lnTo>
                  <a:pt x="3993297" y="6841154"/>
                </a:lnTo>
                <a:lnTo>
                  <a:pt x="0" y="6841154"/>
                </a:lnTo>
                <a:lnTo>
                  <a:pt x="12006" y="3826853"/>
                </a:lnTo>
                <a:cubicBezTo>
                  <a:pt x="12006" y="3170397"/>
                  <a:pt x="400384" y="2270082"/>
                  <a:pt x="872739" y="181469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2"/>
          </p:nvPr>
        </p:nvSpPr>
        <p:spPr>
          <a:xfrm>
            <a:off x="0" y="399802"/>
            <a:ext cx="4700424" cy="6458199"/>
          </a:xfrm>
          <a:custGeom>
            <a:avLst/>
            <a:gdLst>
              <a:gd name="connsiteX0" fmla="*/ 4516707 w 4700424"/>
              <a:gd name="connsiteY0" fmla="*/ 55 h 6458199"/>
              <a:gd name="connsiteX1" fmla="*/ 4700424 w 4700424"/>
              <a:gd name="connsiteY1" fmla="*/ 302944 h 6458199"/>
              <a:gd name="connsiteX2" fmla="*/ 4700424 w 4700424"/>
              <a:gd name="connsiteY2" fmla="*/ 3068743 h 6458199"/>
              <a:gd name="connsiteX3" fmla="*/ 4283117 w 4700424"/>
              <a:gd name="connsiteY3" fmla="*/ 4048499 h 6458199"/>
              <a:gd name="connsiteX4" fmla="*/ 1775277 w 4700424"/>
              <a:gd name="connsiteY4" fmla="*/ 6458199 h 6458199"/>
              <a:gd name="connsiteX5" fmla="*/ 0 w 4700424"/>
              <a:gd name="connsiteY5" fmla="*/ 6458199 h 6458199"/>
              <a:gd name="connsiteX6" fmla="*/ 0 w 4700424"/>
              <a:gd name="connsiteY6" fmla="*/ 4252532 h 6458199"/>
              <a:gd name="connsiteX7" fmla="*/ 4283508 w 4700424"/>
              <a:gd name="connsiteY7" fmla="*/ 125551 h 6458199"/>
              <a:gd name="connsiteX8" fmla="*/ 4516707 w 4700424"/>
              <a:gd name="connsiteY8" fmla="*/ 55 h 6458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00424" h="6458199">
                <a:moveTo>
                  <a:pt x="4516707" y="55"/>
                </a:moveTo>
                <a:cubicBezTo>
                  <a:pt x="4627597" y="-2741"/>
                  <a:pt x="4700424" y="103085"/>
                  <a:pt x="4700424" y="302944"/>
                </a:cubicBezTo>
                <a:lnTo>
                  <a:pt x="4700424" y="3068743"/>
                </a:lnTo>
                <a:cubicBezTo>
                  <a:pt x="4700424" y="3388516"/>
                  <a:pt x="4513595" y="3827058"/>
                  <a:pt x="4283117" y="4048499"/>
                </a:cubicBezTo>
                <a:lnTo>
                  <a:pt x="1775277" y="6458199"/>
                </a:lnTo>
                <a:lnTo>
                  <a:pt x="0" y="6458199"/>
                </a:lnTo>
                <a:lnTo>
                  <a:pt x="0" y="4252532"/>
                </a:lnTo>
                <a:lnTo>
                  <a:pt x="4283508" y="125551"/>
                </a:lnTo>
                <a:cubicBezTo>
                  <a:pt x="4369937" y="42514"/>
                  <a:pt x="4450173" y="1733"/>
                  <a:pt x="4516707" y="5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rtlCol="0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19" name="Text Placeholder 118"/>
          <p:cNvSpPr>
            <a:spLocks noGrp="1"/>
          </p:cNvSpPr>
          <p:nvPr>
            <p:ph type="body" sz="quarter" idx="14"/>
          </p:nvPr>
        </p:nvSpPr>
        <p:spPr>
          <a:xfrm>
            <a:off x="3759187" y="1992797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4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  <a:lvl2pPr algn="ctr">
              <a:defRPr>
                <a:solidFill>
                  <a:srgbClr val="F07E26"/>
                </a:solidFill>
              </a:defRPr>
            </a:lvl2pPr>
            <a:lvl3pPr algn="ctr">
              <a:defRPr>
                <a:solidFill>
                  <a:srgbClr val="F07E26"/>
                </a:solidFill>
              </a:defRPr>
            </a:lvl3pPr>
            <a:lvl4pPr algn="ctr">
              <a:defRPr>
                <a:solidFill>
                  <a:srgbClr val="F07E26"/>
                </a:solidFill>
              </a:defRPr>
            </a:lvl4pPr>
            <a:lvl5pPr algn="ctr">
              <a:defRPr>
                <a:solidFill>
                  <a:srgbClr val="F07E26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2" name="Text Placeholder 121"/>
          <p:cNvSpPr>
            <a:spLocks noGrp="1"/>
          </p:cNvSpPr>
          <p:nvPr>
            <p:ph type="body" sz="quarter" idx="15"/>
          </p:nvPr>
        </p:nvSpPr>
        <p:spPr>
          <a:xfrm>
            <a:off x="1404620" y="1269298"/>
            <a:ext cx="4260152" cy="5588702"/>
          </a:xfrm>
          <a:custGeom>
            <a:avLst/>
            <a:gdLst>
              <a:gd name="connsiteX0" fmla="*/ 128617 w 4260152"/>
              <a:gd name="connsiteY0" fmla="*/ 38 h 5588702"/>
              <a:gd name="connsiteX1" fmla="*/ 291876 w 4260152"/>
              <a:gd name="connsiteY1" fmla="*/ 87896 h 5588702"/>
              <a:gd name="connsiteX2" fmla="*/ 3961534 w 4260152"/>
              <a:gd name="connsiteY2" fmla="*/ 3623459 h 5588702"/>
              <a:gd name="connsiteX3" fmla="*/ 4255058 w 4260152"/>
              <a:gd name="connsiteY3" fmla="*/ 4309638 h 5588702"/>
              <a:gd name="connsiteX4" fmla="*/ 4260152 w 4260152"/>
              <a:gd name="connsiteY4" fmla="*/ 5588702 h 5588702"/>
              <a:gd name="connsiteX5" fmla="*/ 3158741 w 4260152"/>
              <a:gd name="connsiteY5" fmla="*/ 5588702 h 5588702"/>
              <a:gd name="connsiteX6" fmla="*/ 292149 w 4260152"/>
              <a:gd name="connsiteY6" fmla="*/ 2834289 h 5588702"/>
              <a:gd name="connsiteX7" fmla="*/ 0 w 4260152"/>
              <a:gd name="connsiteY7" fmla="*/ 2148378 h 5588702"/>
              <a:gd name="connsiteX8" fmla="*/ 0 w 4260152"/>
              <a:gd name="connsiteY8" fmla="*/ 212086 h 5588702"/>
              <a:gd name="connsiteX9" fmla="*/ 128617 w 4260152"/>
              <a:gd name="connsiteY9" fmla="*/ 38 h 558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60152" h="5588702">
                <a:moveTo>
                  <a:pt x="128617" y="38"/>
                </a:moveTo>
                <a:cubicBezTo>
                  <a:pt x="175196" y="1213"/>
                  <a:pt x="231368" y="29763"/>
                  <a:pt x="291876" y="87896"/>
                </a:cubicBezTo>
                <a:lnTo>
                  <a:pt x="3961534" y="3623459"/>
                </a:lnTo>
                <a:cubicBezTo>
                  <a:pt x="4122615" y="3778754"/>
                  <a:pt x="4255058" y="4085775"/>
                  <a:pt x="4255058" y="4309638"/>
                </a:cubicBezTo>
                <a:lnTo>
                  <a:pt x="4260152" y="5588702"/>
                </a:lnTo>
                <a:lnTo>
                  <a:pt x="3158741" y="5588702"/>
                </a:lnTo>
                <a:lnTo>
                  <a:pt x="292149" y="2834289"/>
                </a:lnTo>
                <a:cubicBezTo>
                  <a:pt x="130795" y="2679262"/>
                  <a:pt x="0" y="2372246"/>
                  <a:pt x="0" y="2148378"/>
                </a:cubicBezTo>
                <a:lnTo>
                  <a:pt x="0" y="212086"/>
                </a:lnTo>
                <a:cubicBezTo>
                  <a:pt x="0" y="72168"/>
                  <a:pt x="50985" y="-1919"/>
                  <a:pt x="128617" y="38"/>
                </a:cubicBezTo>
                <a:close/>
              </a:path>
            </a:pathLst>
          </a:custGeom>
          <a:solidFill>
            <a:srgbClr val="27257A">
              <a:alpha val="5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0F02CE1-4186-44F5-9866-E460F064779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5AAC0D80-D5D2-4638-8532-A3EF44454BAD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711252304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Text Placeholder 141"/>
          <p:cNvSpPr>
            <a:spLocks noGrp="1"/>
          </p:cNvSpPr>
          <p:nvPr>
            <p:ph type="body" sz="quarter" idx="16"/>
          </p:nvPr>
        </p:nvSpPr>
        <p:spPr>
          <a:xfrm>
            <a:off x="6466262" y="0"/>
            <a:ext cx="5725739" cy="6858000"/>
          </a:xfrm>
          <a:custGeom>
            <a:avLst/>
            <a:gdLst>
              <a:gd name="connsiteX0" fmla="*/ 5117570 w 5725739"/>
              <a:gd name="connsiteY0" fmla="*/ 0 h 6858000"/>
              <a:gd name="connsiteX1" fmla="*/ 5725739 w 5725739"/>
              <a:gd name="connsiteY1" fmla="*/ 0 h 6858000"/>
              <a:gd name="connsiteX2" fmla="*/ 5725739 w 5725739"/>
              <a:gd name="connsiteY2" fmla="*/ 3401607 h 6858000"/>
              <a:gd name="connsiteX3" fmla="*/ 2128578 w 5725739"/>
              <a:gd name="connsiteY3" fmla="*/ 6858000 h 6858000"/>
              <a:gd name="connsiteX4" fmla="*/ 0 w 5725739"/>
              <a:gd name="connsiteY4" fmla="*/ 6858000 h 6858000"/>
              <a:gd name="connsiteX5" fmla="*/ 5365 w 5725739"/>
              <a:gd name="connsiteY5" fmla="*/ 5511145 h 6858000"/>
              <a:gd name="connsiteX6" fmla="*/ 431589 w 5725739"/>
              <a:gd name="connsiteY6" fmla="*/ 45147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5739" h="6858000">
                <a:moveTo>
                  <a:pt x="5117570" y="0"/>
                </a:moveTo>
                <a:lnTo>
                  <a:pt x="5725739" y="0"/>
                </a:lnTo>
                <a:lnTo>
                  <a:pt x="5725739" y="3401607"/>
                </a:lnTo>
                <a:lnTo>
                  <a:pt x="2128578" y="6858000"/>
                </a:lnTo>
                <a:lnTo>
                  <a:pt x="0" y="6858000"/>
                </a:lnTo>
                <a:lnTo>
                  <a:pt x="5365" y="5511145"/>
                </a:lnTo>
                <a:cubicBezTo>
                  <a:pt x="5365" y="5186076"/>
                  <a:pt x="197685" y="4740251"/>
                  <a:pt x="431589" y="4514748"/>
                </a:cubicBez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5" name="Text Placeholder 144"/>
          <p:cNvSpPr>
            <a:spLocks noGrp="1"/>
          </p:cNvSpPr>
          <p:nvPr>
            <p:ph type="body" sz="quarter" idx="17"/>
          </p:nvPr>
        </p:nvSpPr>
        <p:spPr>
          <a:xfrm>
            <a:off x="7550874" y="1"/>
            <a:ext cx="3878381" cy="3539155"/>
          </a:xfrm>
          <a:custGeom>
            <a:avLst/>
            <a:gdLst>
              <a:gd name="connsiteX0" fmla="*/ 0 w 3878381"/>
              <a:gd name="connsiteY0" fmla="*/ 0 h 3539155"/>
              <a:gd name="connsiteX1" fmla="*/ 2792543 w 3878381"/>
              <a:gd name="connsiteY1" fmla="*/ 0 h 3539155"/>
              <a:gd name="connsiteX2" fmla="*/ 3583241 w 3878381"/>
              <a:gd name="connsiteY2" fmla="*/ 761805 h 3539155"/>
              <a:gd name="connsiteX3" fmla="*/ 3870822 w 3878381"/>
              <a:gd name="connsiteY3" fmla="*/ 1434091 h 3539155"/>
              <a:gd name="connsiteX4" fmla="*/ 3878378 w 3878381"/>
              <a:gd name="connsiteY4" fmla="*/ 3331185 h 3539155"/>
              <a:gd name="connsiteX5" fmla="*/ 3593763 w 3878381"/>
              <a:gd name="connsiteY5" fmla="*/ 3453128 h 3539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8381" h="3539155">
                <a:moveTo>
                  <a:pt x="0" y="0"/>
                </a:moveTo>
                <a:lnTo>
                  <a:pt x="2792543" y="0"/>
                </a:lnTo>
                <a:lnTo>
                  <a:pt x="3583241" y="761805"/>
                </a:lnTo>
                <a:cubicBezTo>
                  <a:pt x="3741061" y="913955"/>
                  <a:pt x="3870822" y="1214761"/>
                  <a:pt x="3870822" y="1434091"/>
                </a:cubicBezTo>
                <a:lnTo>
                  <a:pt x="3878378" y="3331185"/>
                </a:lnTo>
                <a:cubicBezTo>
                  <a:pt x="3879188" y="3550515"/>
                  <a:pt x="3751850" y="3605011"/>
                  <a:pt x="3593763" y="3453128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1"/>
          </p:nvPr>
        </p:nvSpPr>
        <p:spPr>
          <a:xfrm>
            <a:off x="9397584" y="2"/>
            <a:ext cx="2794416" cy="3055719"/>
          </a:xfrm>
          <a:custGeom>
            <a:avLst/>
            <a:gdLst>
              <a:gd name="connsiteX0" fmla="*/ 1289861 w 2794416"/>
              <a:gd name="connsiteY0" fmla="*/ 0 h 3055719"/>
              <a:gd name="connsiteX1" fmla="*/ 2794416 w 2794416"/>
              <a:gd name="connsiteY1" fmla="*/ 0 h 3055719"/>
              <a:gd name="connsiteX2" fmla="*/ 2794416 w 2794416"/>
              <a:gd name="connsiteY2" fmla="*/ 506981 h 3055719"/>
              <a:gd name="connsiteX3" fmla="*/ 206986 w 2794416"/>
              <a:gd name="connsiteY3" fmla="*/ 2993158 h 3055719"/>
              <a:gd name="connsiteX4" fmla="*/ 3 w 2794416"/>
              <a:gd name="connsiteY4" fmla="*/ 2904476 h 3055719"/>
              <a:gd name="connsiteX5" fmla="*/ 5498 w 2794416"/>
              <a:gd name="connsiteY5" fmla="*/ 1524843 h 3055719"/>
              <a:gd name="connsiteX6" fmla="*/ 214637 w 2794416"/>
              <a:gd name="connsiteY6" fmla="*/ 1035934 h 305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4416" h="3055719">
                <a:moveTo>
                  <a:pt x="1289861" y="0"/>
                </a:moveTo>
                <a:lnTo>
                  <a:pt x="2794416" y="0"/>
                </a:lnTo>
                <a:lnTo>
                  <a:pt x="2794416" y="506981"/>
                </a:lnTo>
                <a:lnTo>
                  <a:pt x="206986" y="2993158"/>
                </a:lnTo>
                <a:cubicBezTo>
                  <a:pt x="92019" y="3103612"/>
                  <a:pt x="-586" y="3063981"/>
                  <a:pt x="3" y="2904476"/>
                </a:cubicBezTo>
                <a:lnTo>
                  <a:pt x="5498" y="1524843"/>
                </a:lnTo>
                <a:cubicBezTo>
                  <a:pt x="5498" y="1365339"/>
                  <a:pt x="99866" y="1146583"/>
                  <a:pt x="214637" y="103593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2"/>
          </p:nvPr>
        </p:nvSpPr>
        <p:spPr>
          <a:xfrm>
            <a:off x="9395146" y="2837674"/>
            <a:ext cx="2796853" cy="4020327"/>
          </a:xfrm>
          <a:custGeom>
            <a:avLst/>
            <a:gdLst>
              <a:gd name="connsiteX0" fmla="*/ 2796853 w 2796853"/>
              <a:gd name="connsiteY0" fmla="*/ 0 h 4020327"/>
              <a:gd name="connsiteX1" fmla="*/ 2796853 w 2796853"/>
              <a:gd name="connsiteY1" fmla="*/ 2233857 h 4020327"/>
              <a:gd name="connsiteX2" fmla="*/ 937626 w 2796853"/>
              <a:gd name="connsiteY2" fmla="*/ 4020327 h 4020327"/>
              <a:gd name="connsiteX3" fmla="*/ 0 w 2796853"/>
              <a:gd name="connsiteY3" fmla="*/ 4020327 h 4020327"/>
              <a:gd name="connsiteX4" fmla="*/ 3988 w 2796853"/>
              <a:gd name="connsiteY4" fmla="*/ 3019106 h 4020327"/>
              <a:gd name="connsiteX5" fmla="*/ 242877 w 2796853"/>
              <a:gd name="connsiteY5" fmla="*/ 2460649 h 40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6853" h="4020327">
                <a:moveTo>
                  <a:pt x="2796853" y="0"/>
                </a:moveTo>
                <a:lnTo>
                  <a:pt x="2796853" y="2233857"/>
                </a:lnTo>
                <a:lnTo>
                  <a:pt x="937626" y="4020327"/>
                </a:lnTo>
                <a:lnTo>
                  <a:pt x="0" y="4020327"/>
                </a:lnTo>
                <a:lnTo>
                  <a:pt x="3988" y="3019106"/>
                </a:lnTo>
                <a:cubicBezTo>
                  <a:pt x="3988" y="2836913"/>
                  <a:pt x="111779" y="2587038"/>
                  <a:pt x="242877" y="24606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38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39" name="Title 6"/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446D451-E8B3-4C55-9975-7463ECAB6AA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276DADD8-9F9F-4907-AE26-1D8EB84BA67D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380813094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Text Placeholder 137"/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4950288" cy="6841155"/>
          </a:xfrm>
          <a:custGeom>
            <a:avLst/>
            <a:gdLst>
              <a:gd name="connsiteX0" fmla="*/ 2470295 w 4950288"/>
              <a:gd name="connsiteY0" fmla="*/ 0 h 6841155"/>
              <a:gd name="connsiteX1" fmla="*/ 4950288 w 4950288"/>
              <a:gd name="connsiteY1" fmla="*/ 0 h 6841155"/>
              <a:gd name="connsiteX2" fmla="*/ 4950288 w 4950288"/>
              <a:gd name="connsiteY2" fmla="*/ 2199465 h 6841155"/>
              <a:gd name="connsiteX3" fmla="*/ 4377784 w 4950288"/>
              <a:gd name="connsiteY3" fmla="*/ 3543592 h 6841155"/>
              <a:gd name="connsiteX4" fmla="*/ 945922 w 4950288"/>
              <a:gd name="connsiteY4" fmla="*/ 6841155 h 6841155"/>
              <a:gd name="connsiteX5" fmla="*/ 0 w 4950288"/>
              <a:gd name="connsiteY5" fmla="*/ 6841155 h 6841155"/>
              <a:gd name="connsiteX6" fmla="*/ 0 w 4950288"/>
              <a:gd name="connsiteY6" fmla="*/ 2380026 h 684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0288" h="6841155">
                <a:moveTo>
                  <a:pt x="2470295" y="0"/>
                </a:moveTo>
                <a:lnTo>
                  <a:pt x="4950288" y="0"/>
                </a:lnTo>
                <a:lnTo>
                  <a:pt x="4950288" y="2199465"/>
                </a:lnTo>
                <a:cubicBezTo>
                  <a:pt x="4950288" y="2638162"/>
                  <a:pt x="4693977" y="3239797"/>
                  <a:pt x="4377784" y="3543592"/>
                </a:cubicBezTo>
                <a:lnTo>
                  <a:pt x="945922" y="6841155"/>
                </a:lnTo>
                <a:lnTo>
                  <a:pt x="0" y="6841155"/>
                </a:lnTo>
                <a:lnTo>
                  <a:pt x="0" y="2380026"/>
                </a:lnTo>
                <a:close/>
              </a:path>
            </a:pathLst>
          </a:custGeom>
          <a:solidFill>
            <a:schemeClr val="accent2">
              <a:alpha val="40000"/>
            </a:scheme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1"/>
          </p:nvPr>
        </p:nvSpPr>
        <p:spPr>
          <a:xfrm>
            <a:off x="0" y="711385"/>
            <a:ext cx="2949628" cy="5539194"/>
          </a:xfrm>
          <a:custGeom>
            <a:avLst/>
            <a:gdLst>
              <a:gd name="connsiteX0" fmla="*/ 2813384 w 2949628"/>
              <a:gd name="connsiteY0" fmla="*/ 41 h 5539194"/>
              <a:gd name="connsiteX1" fmla="*/ 2949628 w 2949628"/>
              <a:gd name="connsiteY1" fmla="*/ 224663 h 5539194"/>
              <a:gd name="connsiteX2" fmla="*/ 2949628 w 2949628"/>
              <a:gd name="connsiteY2" fmla="*/ 2275772 h 5539194"/>
              <a:gd name="connsiteX3" fmla="*/ 2640154 w 2949628"/>
              <a:gd name="connsiteY3" fmla="*/ 3002357 h 5539194"/>
              <a:gd name="connsiteX4" fmla="*/ 0 w 2949628"/>
              <a:gd name="connsiteY4" fmla="*/ 5539194 h 5539194"/>
              <a:gd name="connsiteX5" fmla="*/ 0 w 2949628"/>
              <a:gd name="connsiteY5" fmla="*/ 2637067 h 5539194"/>
              <a:gd name="connsiteX6" fmla="*/ 2640444 w 2949628"/>
              <a:gd name="connsiteY6" fmla="*/ 93109 h 5539194"/>
              <a:gd name="connsiteX7" fmla="*/ 2813384 w 2949628"/>
              <a:gd name="connsiteY7" fmla="*/ 41 h 553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9628" h="5539194">
                <a:moveTo>
                  <a:pt x="2813384" y="41"/>
                </a:moveTo>
                <a:cubicBezTo>
                  <a:pt x="2895620" y="-2032"/>
                  <a:pt x="2949628" y="76448"/>
                  <a:pt x="2949628" y="224663"/>
                </a:cubicBezTo>
                <a:lnTo>
                  <a:pt x="2949628" y="2275772"/>
                </a:lnTo>
                <a:cubicBezTo>
                  <a:pt x="2949628" y="2512915"/>
                  <a:pt x="2811076" y="2838136"/>
                  <a:pt x="2640154" y="3002357"/>
                </a:cubicBezTo>
                <a:lnTo>
                  <a:pt x="0" y="5539194"/>
                </a:lnTo>
                <a:lnTo>
                  <a:pt x="0" y="2637067"/>
                </a:lnTo>
                <a:lnTo>
                  <a:pt x="2640444" y="93109"/>
                </a:lnTo>
                <a:cubicBezTo>
                  <a:pt x="2704540" y="31529"/>
                  <a:pt x="2764043" y="1286"/>
                  <a:pt x="2813384" y="4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31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3575720" y="1764973"/>
            <a:ext cx="7992393" cy="447231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32" name="Title 6"/>
          <p:cNvSpPr>
            <a:spLocks noGrp="1"/>
          </p:cNvSpPr>
          <p:nvPr>
            <p:ph type="title"/>
          </p:nvPr>
        </p:nvSpPr>
        <p:spPr>
          <a:xfrm>
            <a:off x="3576259" y="332657"/>
            <a:ext cx="7991854" cy="126248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135" name="Text Placeholder 134"/>
          <p:cNvSpPr>
            <a:spLocks noGrp="1"/>
          </p:cNvSpPr>
          <p:nvPr>
            <p:ph type="body" sz="quarter" idx="15"/>
          </p:nvPr>
        </p:nvSpPr>
        <p:spPr>
          <a:xfrm>
            <a:off x="940141" y="3501440"/>
            <a:ext cx="3407492" cy="3356558"/>
          </a:xfrm>
          <a:custGeom>
            <a:avLst/>
            <a:gdLst>
              <a:gd name="connsiteX0" fmla="*/ 103347 w 3407492"/>
              <a:gd name="connsiteY0" fmla="*/ 31 h 3356558"/>
              <a:gd name="connsiteX1" fmla="*/ 234529 w 3407492"/>
              <a:gd name="connsiteY1" fmla="*/ 70627 h 3356558"/>
              <a:gd name="connsiteX2" fmla="*/ 3183188 w 3407492"/>
              <a:gd name="connsiteY2" fmla="*/ 2911537 h 3356558"/>
              <a:gd name="connsiteX3" fmla="*/ 3400391 w 3407492"/>
              <a:gd name="connsiteY3" fmla="*/ 3318409 h 3356558"/>
              <a:gd name="connsiteX4" fmla="*/ 3407492 w 3407492"/>
              <a:gd name="connsiteY4" fmla="*/ 3356558 h 3356558"/>
              <a:gd name="connsiteX5" fmla="*/ 1357837 w 3407492"/>
              <a:gd name="connsiteY5" fmla="*/ 3356558 h 3356558"/>
              <a:gd name="connsiteX6" fmla="*/ 234749 w 3407492"/>
              <a:gd name="connsiteY6" fmla="*/ 2277420 h 3356558"/>
              <a:gd name="connsiteX7" fmla="*/ 0 w 3407492"/>
              <a:gd name="connsiteY7" fmla="*/ 1726274 h 3356558"/>
              <a:gd name="connsiteX8" fmla="*/ 0 w 3407492"/>
              <a:gd name="connsiteY8" fmla="*/ 170416 h 3356558"/>
              <a:gd name="connsiteX9" fmla="*/ 103347 w 3407492"/>
              <a:gd name="connsiteY9" fmla="*/ 31 h 3356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7492" h="3356558">
                <a:moveTo>
                  <a:pt x="103347" y="31"/>
                </a:moveTo>
                <a:cubicBezTo>
                  <a:pt x="140774" y="975"/>
                  <a:pt x="185910" y="23916"/>
                  <a:pt x="234529" y="70627"/>
                </a:cubicBezTo>
                <a:lnTo>
                  <a:pt x="3183188" y="2911537"/>
                </a:lnTo>
                <a:cubicBezTo>
                  <a:pt x="3280262" y="3005125"/>
                  <a:pt x="3364393" y="3167290"/>
                  <a:pt x="3400391" y="3318409"/>
                </a:cubicBezTo>
                <a:lnTo>
                  <a:pt x="3407492" y="3356558"/>
                </a:lnTo>
                <a:lnTo>
                  <a:pt x="1357837" y="3356558"/>
                </a:lnTo>
                <a:lnTo>
                  <a:pt x="234749" y="2277420"/>
                </a:lnTo>
                <a:cubicBezTo>
                  <a:pt x="105098" y="2152852"/>
                  <a:pt x="0" y="1906157"/>
                  <a:pt x="0" y="1726274"/>
                </a:cubicBezTo>
                <a:lnTo>
                  <a:pt x="0" y="170416"/>
                </a:lnTo>
                <a:cubicBezTo>
                  <a:pt x="0" y="57989"/>
                  <a:pt x="40968" y="-1542"/>
                  <a:pt x="103347" y="31"/>
                </a:cubicBezTo>
                <a:close/>
              </a:path>
            </a:pathLst>
          </a:custGeom>
          <a:solidFill>
            <a:srgbClr val="F07E26">
              <a:alpha val="5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1" name="Text Placeholder 140"/>
          <p:cNvSpPr>
            <a:spLocks noGrp="1"/>
          </p:cNvSpPr>
          <p:nvPr>
            <p:ph type="body" sz="quarter" idx="17"/>
          </p:nvPr>
        </p:nvSpPr>
        <p:spPr>
          <a:xfrm>
            <a:off x="944586" y="1"/>
            <a:ext cx="2780826" cy="2612989"/>
          </a:xfrm>
          <a:custGeom>
            <a:avLst/>
            <a:gdLst>
              <a:gd name="connsiteX0" fmla="*/ 946876 w 2780826"/>
              <a:gd name="connsiteY0" fmla="*/ 0 h 2612989"/>
              <a:gd name="connsiteX1" fmla="*/ 2780826 w 2780826"/>
              <a:gd name="connsiteY1" fmla="*/ 0 h 2612989"/>
              <a:gd name="connsiteX2" fmla="*/ 2729916 w 2780826"/>
              <a:gd name="connsiteY2" fmla="*/ 96513 h 2612989"/>
              <a:gd name="connsiteX3" fmla="*/ 2653907 w 2780826"/>
              <a:gd name="connsiteY3" fmla="*/ 190819 h 2612989"/>
              <a:gd name="connsiteX4" fmla="*/ 194167 w 2780826"/>
              <a:gd name="connsiteY4" fmla="*/ 2554302 h 2612989"/>
              <a:gd name="connsiteX5" fmla="*/ 3 w 2780826"/>
              <a:gd name="connsiteY5" fmla="*/ 2471113 h 2612989"/>
              <a:gd name="connsiteX6" fmla="*/ 5158 w 2780826"/>
              <a:gd name="connsiteY6" fmla="*/ 1176920 h 2612989"/>
              <a:gd name="connsiteX7" fmla="*/ 201345 w 2780826"/>
              <a:gd name="connsiteY7" fmla="*/ 718288 h 261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80826" h="2612989">
                <a:moveTo>
                  <a:pt x="946876" y="0"/>
                </a:moveTo>
                <a:lnTo>
                  <a:pt x="2780826" y="0"/>
                </a:lnTo>
                <a:lnTo>
                  <a:pt x="2729916" y="96513"/>
                </a:lnTo>
                <a:cubicBezTo>
                  <a:pt x="2706554" y="132660"/>
                  <a:pt x="2680869" y="164914"/>
                  <a:pt x="2653907" y="190819"/>
                </a:cubicBezTo>
                <a:lnTo>
                  <a:pt x="194167" y="2554302"/>
                </a:lnTo>
                <a:cubicBezTo>
                  <a:pt x="86320" y="2657916"/>
                  <a:pt x="-549" y="2620739"/>
                  <a:pt x="3" y="2471113"/>
                </a:cubicBezTo>
                <a:lnTo>
                  <a:pt x="5158" y="1176920"/>
                </a:lnTo>
                <a:cubicBezTo>
                  <a:pt x="5158" y="1027293"/>
                  <a:pt x="93681" y="822085"/>
                  <a:pt x="201345" y="718288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FB05866-348A-485A-8659-E4BFA97D84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44290A7F-3EB1-4E94-9F42-D12E61A0C1EA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801257206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/>
          <p:cNvSpPr>
            <a:spLocks noGrp="1"/>
          </p:cNvSpPr>
          <p:nvPr>
            <p:ph type="body" sz="quarter" idx="17"/>
          </p:nvPr>
        </p:nvSpPr>
        <p:spPr>
          <a:xfrm>
            <a:off x="6168009" y="997575"/>
            <a:ext cx="6023991" cy="5860425"/>
          </a:xfrm>
          <a:custGeom>
            <a:avLst/>
            <a:gdLst>
              <a:gd name="connsiteX0" fmla="*/ 6023991 w 6023991"/>
              <a:gd name="connsiteY0" fmla="*/ 0 h 5860425"/>
              <a:gd name="connsiteX1" fmla="*/ 6023991 w 6023991"/>
              <a:gd name="connsiteY1" fmla="*/ 5860425 h 5860425"/>
              <a:gd name="connsiteX2" fmla="*/ 0 w 6023991"/>
              <a:gd name="connsiteY2" fmla="*/ 5860425 h 586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3991" h="5860425">
                <a:moveTo>
                  <a:pt x="6023991" y="0"/>
                </a:moveTo>
                <a:lnTo>
                  <a:pt x="6023991" y="5860425"/>
                </a:lnTo>
                <a:lnTo>
                  <a:pt x="0" y="5860425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8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39" name="Title 6"/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142" name="Text Placeholder 141"/>
          <p:cNvSpPr>
            <a:spLocks noGrp="1"/>
          </p:cNvSpPr>
          <p:nvPr>
            <p:ph type="body" sz="quarter" idx="16"/>
          </p:nvPr>
        </p:nvSpPr>
        <p:spPr>
          <a:xfrm>
            <a:off x="7966579" y="3582252"/>
            <a:ext cx="3439851" cy="3275748"/>
          </a:xfrm>
          <a:custGeom>
            <a:avLst/>
            <a:gdLst>
              <a:gd name="connsiteX0" fmla="*/ 105769 w 3439851"/>
              <a:gd name="connsiteY0" fmla="*/ 32 h 3275748"/>
              <a:gd name="connsiteX1" fmla="*/ 240027 w 3439851"/>
              <a:gd name="connsiteY1" fmla="*/ 72283 h 3275748"/>
              <a:gd name="connsiteX2" fmla="*/ 3257802 w 3439851"/>
              <a:gd name="connsiteY2" fmla="*/ 2979783 h 3275748"/>
              <a:gd name="connsiteX3" fmla="*/ 3428167 w 3439851"/>
              <a:gd name="connsiteY3" fmla="*/ 3240781 h 3275748"/>
              <a:gd name="connsiteX4" fmla="*/ 3439851 w 3439851"/>
              <a:gd name="connsiteY4" fmla="*/ 3275748 h 3275748"/>
              <a:gd name="connsiteX5" fmla="*/ 1223682 w 3439851"/>
              <a:gd name="connsiteY5" fmla="*/ 3275748 h 3275748"/>
              <a:gd name="connsiteX6" fmla="*/ 240252 w 3439851"/>
              <a:gd name="connsiteY6" fmla="*/ 2330803 h 3275748"/>
              <a:gd name="connsiteX7" fmla="*/ 0 w 3439851"/>
              <a:gd name="connsiteY7" fmla="*/ 1766737 h 3275748"/>
              <a:gd name="connsiteX8" fmla="*/ 0 w 3439851"/>
              <a:gd name="connsiteY8" fmla="*/ 174411 h 3275748"/>
              <a:gd name="connsiteX9" fmla="*/ 105769 w 3439851"/>
              <a:gd name="connsiteY9" fmla="*/ 32 h 327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9851" h="3275748">
                <a:moveTo>
                  <a:pt x="105769" y="32"/>
                </a:moveTo>
                <a:cubicBezTo>
                  <a:pt x="144074" y="998"/>
                  <a:pt x="190268" y="24477"/>
                  <a:pt x="240027" y="72283"/>
                </a:cubicBezTo>
                <a:lnTo>
                  <a:pt x="3257802" y="2979783"/>
                </a:lnTo>
                <a:cubicBezTo>
                  <a:pt x="3324035" y="3043637"/>
                  <a:pt x="3384380" y="3138685"/>
                  <a:pt x="3428167" y="3240781"/>
                </a:cubicBezTo>
                <a:lnTo>
                  <a:pt x="3439851" y="3275748"/>
                </a:lnTo>
                <a:lnTo>
                  <a:pt x="1223682" y="3275748"/>
                </a:lnTo>
                <a:lnTo>
                  <a:pt x="240252" y="2330803"/>
                </a:lnTo>
                <a:cubicBezTo>
                  <a:pt x="107561" y="2203315"/>
                  <a:pt x="0" y="1950837"/>
                  <a:pt x="0" y="1766737"/>
                </a:cubicBezTo>
                <a:lnTo>
                  <a:pt x="0" y="174411"/>
                </a:lnTo>
                <a:cubicBezTo>
                  <a:pt x="0" y="59349"/>
                  <a:pt x="41928" y="-1578"/>
                  <a:pt x="105769" y="32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>
            <a:noFill/>
          </a:ln>
        </p:spPr>
        <p:txBody>
          <a:bodyPr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Picture Placeholder 21"/>
          <p:cNvSpPr>
            <a:spLocks noGrp="1"/>
          </p:cNvSpPr>
          <p:nvPr>
            <p:ph type="pic" sz="quarter" idx="11"/>
          </p:nvPr>
        </p:nvSpPr>
        <p:spPr>
          <a:xfrm>
            <a:off x="6549430" y="3824580"/>
            <a:ext cx="3306404" cy="3033420"/>
          </a:xfrm>
          <a:custGeom>
            <a:avLst/>
            <a:gdLst>
              <a:gd name="connsiteX0" fmla="*/ 3200634 w 3306404"/>
              <a:gd name="connsiteY0" fmla="*/ 32 h 3033420"/>
              <a:gd name="connsiteX1" fmla="*/ 3306404 w 3306404"/>
              <a:gd name="connsiteY1" fmla="*/ 174411 h 3033420"/>
              <a:gd name="connsiteX2" fmla="*/ 3306404 w 3306404"/>
              <a:gd name="connsiteY2" fmla="*/ 1766737 h 3033420"/>
              <a:gd name="connsiteX3" fmla="*/ 3066152 w 3306404"/>
              <a:gd name="connsiteY3" fmla="*/ 2330803 h 3033420"/>
              <a:gd name="connsiteX4" fmla="*/ 2334919 w 3306404"/>
              <a:gd name="connsiteY4" fmla="*/ 3033420 h 3033420"/>
              <a:gd name="connsiteX5" fmla="*/ 0 w 3306404"/>
              <a:gd name="connsiteY5" fmla="*/ 3033420 h 3033420"/>
              <a:gd name="connsiteX6" fmla="*/ 198 w 3306404"/>
              <a:gd name="connsiteY6" fmla="*/ 3033145 h 3033420"/>
              <a:gd name="connsiteX7" fmla="*/ 48602 w 3306404"/>
              <a:gd name="connsiteY7" fmla="*/ 2979783 h 3033420"/>
              <a:gd name="connsiteX8" fmla="*/ 3066377 w 3306404"/>
              <a:gd name="connsiteY8" fmla="*/ 72283 h 3033420"/>
              <a:gd name="connsiteX9" fmla="*/ 3200634 w 3306404"/>
              <a:gd name="connsiteY9" fmla="*/ 32 h 303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6404" h="3033420">
                <a:moveTo>
                  <a:pt x="3200634" y="32"/>
                </a:moveTo>
                <a:cubicBezTo>
                  <a:pt x="3264476" y="-1578"/>
                  <a:pt x="3306404" y="59349"/>
                  <a:pt x="3306404" y="174411"/>
                </a:cubicBezTo>
                <a:lnTo>
                  <a:pt x="3306404" y="1766737"/>
                </a:lnTo>
                <a:cubicBezTo>
                  <a:pt x="3306404" y="1950837"/>
                  <a:pt x="3198843" y="2203315"/>
                  <a:pt x="3066152" y="2330803"/>
                </a:cubicBezTo>
                <a:lnTo>
                  <a:pt x="2334919" y="3033420"/>
                </a:lnTo>
                <a:lnTo>
                  <a:pt x="0" y="3033420"/>
                </a:lnTo>
                <a:lnTo>
                  <a:pt x="198" y="3033145"/>
                </a:lnTo>
                <a:cubicBezTo>
                  <a:pt x="15854" y="3013660"/>
                  <a:pt x="32044" y="2995747"/>
                  <a:pt x="48602" y="2979783"/>
                </a:cubicBezTo>
                <a:lnTo>
                  <a:pt x="3066377" y="72283"/>
                </a:lnTo>
                <a:cubicBezTo>
                  <a:pt x="3116136" y="24477"/>
                  <a:pt x="3162330" y="998"/>
                  <a:pt x="3200634" y="3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2"/>
          </p:nvPr>
        </p:nvSpPr>
        <p:spPr>
          <a:xfrm>
            <a:off x="9403639" y="2520239"/>
            <a:ext cx="2788363" cy="4337761"/>
          </a:xfrm>
          <a:custGeom>
            <a:avLst/>
            <a:gdLst>
              <a:gd name="connsiteX0" fmla="*/ 2788363 w 2788363"/>
              <a:gd name="connsiteY0" fmla="*/ 0 h 4337761"/>
              <a:gd name="connsiteX1" fmla="*/ 2788363 w 2788363"/>
              <a:gd name="connsiteY1" fmla="*/ 2257070 h 4337761"/>
              <a:gd name="connsiteX2" fmla="*/ 622932 w 2788363"/>
              <a:gd name="connsiteY2" fmla="*/ 4337761 h 4337761"/>
              <a:gd name="connsiteX3" fmla="*/ 0 w 2788363"/>
              <a:gd name="connsiteY3" fmla="*/ 4337761 h 4337761"/>
              <a:gd name="connsiteX4" fmla="*/ 5277 w 2788363"/>
              <a:gd name="connsiteY4" fmla="*/ 3013111 h 4337761"/>
              <a:gd name="connsiteX5" fmla="*/ 246658 w 2788363"/>
              <a:gd name="connsiteY5" fmla="*/ 2448826 h 4337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88363" h="4337761">
                <a:moveTo>
                  <a:pt x="2788363" y="0"/>
                </a:moveTo>
                <a:lnTo>
                  <a:pt x="2788363" y="2257070"/>
                </a:lnTo>
                <a:lnTo>
                  <a:pt x="622932" y="4337761"/>
                </a:lnTo>
                <a:lnTo>
                  <a:pt x="0" y="4337761"/>
                </a:lnTo>
                <a:lnTo>
                  <a:pt x="5277" y="3013111"/>
                </a:lnTo>
                <a:cubicBezTo>
                  <a:pt x="5277" y="2829016"/>
                  <a:pt x="114192" y="2576534"/>
                  <a:pt x="246658" y="244882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6884B32F-769E-4D38-BBE2-A2192E68D3F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DAA80AE0-4562-4061-BB0F-1C98A361E25A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232498400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131"/>
          <p:cNvSpPr>
            <a:spLocks noGrp="1"/>
          </p:cNvSpPr>
          <p:nvPr>
            <p:ph type="body" sz="quarter" idx="17"/>
          </p:nvPr>
        </p:nvSpPr>
        <p:spPr>
          <a:xfrm>
            <a:off x="0" y="2515316"/>
            <a:ext cx="4476959" cy="4342684"/>
          </a:xfrm>
          <a:custGeom>
            <a:avLst/>
            <a:gdLst>
              <a:gd name="connsiteX0" fmla="*/ 0 w 4476959"/>
              <a:gd name="connsiteY0" fmla="*/ 0 h 4342684"/>
              <a:gd name="connsiteX1" fmla="*/ 4265976 w 4476959"/>
              <a:gd name="connsiteY1" fmla="*/ 4110090 h 4342684"/>
              <a:gd name="connsiteX2" fmla="*/ 4476959 w 4476959"/>
              <a:gd name="connsiteY2" fmla="*/ 4342684 h 4342684"/>
              <a:gd name="connsiteX3" fmla="*/ 0 w 4476959"/>
              <a:gd name="connsiteY3" fmla="*/ 4342684 h 43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6959" h="4342684">
                <a:moveTo>
                  <a:pt x="0" y="0"/>
                </a:moveTo>
                <a:lnTo>
                  <a:pt x="4265976" y="4110090"/>
                </a:lnTo>
                <a:lnTo>
                  <a:pt x="4476959" y="4342684"/>
                </a:lnTo>
                <a:lnTo>
                  <a:pt x="0" y="4342684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5" name="Text Placeholder 16"/>
          <p:cNvSpPr>
            <a:spLocks noGrp="1"/>
          </p:cNvSpPr>
          <p:nvPr>
            <p:ph type="body" sz="quarter" idx="15"/>
          </p:nvPr>
        </p:nvSpPr>
        <p:spPr>
          <a:xfrm>
            <a:off x="5369769" y="1764973"/>
            <a:ext cx="6198344" cy="447231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26" name="Title 6"/>
          <p:cNvSpPr>
            <a:spLocks noGrp="1"/>
          </p:cNvSpPr>
          <p:nvPr>
            <p:ph type="title"/>
          </p:nvPr>
        </p:nvSpPr>
        <p:spPr>
          <a:xfrm>
            <a:off x="5370187" y="332657"/>
            <a:ext cx="6197926" cy="126248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129" name="Text Placeholder 128"/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863438" cy="6285957"/>
          </a:xfrm>
          <a:custGeom>
            <a:avLst/>
            <a:gdLst>
              <a:gd name="connsiteX0" fmla="*/ 0 w 2863438"/>
              <a:gd name="connsiteY0" fmla="*/ 0 h 6285957"/>
              <a:gd name="connsiteX1" fmla="*/ 834528 w 2863438"/>
              <a:gd name="connsiteY1" fmla="*/ 0 h 6285957"/>
              <a:gd name="connsiteX2" fmla="*/ 2350678 w 2863438"/>
              <a:gd name="connsiteY2" fmla="*/ 1460747 h 6285957"/>
              <a:gd name="connsiteX3" fmla="*/ 2850304 w 2863438"/>
              <a:gd name="connsiteY3" fmla="*/ 2628739 h 6285957"/>
              <a:gd name="connsiteX4" fmla="*/ 2863432 w 2863438"/>
              <a:gd name="connsiteY4" fmla="*/ 5924642 h 6285957"/>
              <a:gd name="connsiteX5" fmla="*/ 2368957 w 2863438"/>
              <a:gd name="connsiteY5" fmla="*/ 6136499 h 6285957"/>
              <a:gd name="connsiteX6" fmla="*/ 0 w 2863438"/>
              <a:gd name="connsiteY6" fmla="*/ 3860246 h 6285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63438" h="6285957">
                <a:moveTo>
                  <a:pt x="0" y="0"/>
                </a:moveTo>
                <a:lnTo>
                  <a:pt x="834528" y="0"/>
                </a:lnTo>
                <a:lnTo>
                  <a:pt x="2350678" y="1460747"/>
                </a:lnTo>
                <a:cubicBezTo>
                  <a:pt x="2624864" y="1725085"/>
                  <a:pt x="2850304" y="2247688"/>
                  <a:pt x="2850304" y="2628739"/>
                </a:cubicBezTo>
                <a:lnTo>
                  <a:pt x="2863432" y="5924642"/>
                </a:lnTo>
                <a:cubicBezTo>
                  <a:pt x="2864839" y="6305693"/>
                  <a:pt x="2643609" y="6400372"/>
                  <a:pt x="2368957" y="6136499"/>
                </a:cubicBezTo>
                <a:lnTo>
                  <a:pt x="0" y="3860246"/>
                </a:lnTo>
                <a:close/>
              </a:path>
            </a:pathLst>
          </a:custGeom>
          <a:solidFill>
            <a:srgbClr val="FFDC00">
              <a:alpha val="4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FFDC00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1C180596-C01B-40C8-9AA5-B62852B4DC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FC518A5B-063C-49C2-BCBA-067478DBF5FF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523889086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x Colour ">
    <p:bg>
      <p:bgPr>
        <a:solidFill>
          <a:srgbClr val="0050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sosceles Triangle 3">
            <a:extLst>
              <a:ext uri="{FF2B5EF4-FFF2-40B4-BE49-F238E27FC236}">
                <a16:creationId xmlns:a16="http://schemas.microsoft.com/office/drawing/2014/main" id="{6B823355-EAE1-4A54-8BE8-053FF3CFD39B}"/>
              </a:ext>
            </a:extLst>
          </p:cNvPr>
          <p:cNvSpPr/>
          <p:nvPr/>
        </p:nvSpPr>
        <p:spPr>
          <a:xfrm>
            <a:off x="0" y="3284538"/>
            <a:ext cx="3719513" cy="3573462"/>
          </a:xfrm>
          <a:prstGeom prst="triangle">
            <a:avLst>
              <a:gd name="adj" fmla="val 0"/>
            </a:avLst>
          </a:prstGeom>
          <a:solidFill>
            <a:schemeClr val="accent3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4" name="Freeform: Shape 7">
            <a:extLst>
              <a:ext uri="{FF2B5EF4-FFF2-40B4-BE49-F238E27FC236}">
                <a16:creationId xmlns:a16="http://schemas.microsoft.com/office/drawing/2014/main" id="{5DCD2FAA-61CD-4717-A237-B9BD555C885A}"/>
              </a:ext>
            </a:extLst>
          </p:cNvPr>
          <p:cNvSpPr/>
          <p:nvPr/>
        </p:nvSpPr>
        <p:spPr>
          <a:xfrm>
            <a:off x="7035800" y="0"/>
            <a:ext cx="4633913" cy="4221163"/>
          </a:xfrm>
          <a:custGeom>
            <a:avLst/>
            <a:gdLst>
              <a:gd name="connsiteX0" fmla="*/ 1185027 w 4634708"/>
              <a:gd name="connsiteY0" fmla="*/ 0 h 4221744"/>
              <a:gd name="connsiteX1" fmla="*/ 4634708 w 4634708"/>
              <a:gd name="connsiteY1" fmla="*/ 0 h 4221744"/>
              <a:gd name="connsiteX2" fmla="*/ 351638 w 4634708"/>
              <a:gd name="connsiteY2" fmla="*/ 4115461 h 4221744"/>
              <a:gd name="connsiteX3" fmla="*/ 5 w 4634708"/>
              <a:gd name="connsiteY3" fmla="*/ 3964804 h 4221744"/>
              <a:gd name="connsiteX4" fmla="*/ 9340 w 4634708"/>
              <a:gd name="connsiteY4" fmla="*/ 1621000 h 4221744"/>
              <a:gd name="connsiteX5" fmla="*/ 364638 w 4634708"/>
              <a:gd name="connsiteY5" fmla="*/ 790411 h 422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34708" h="4221744">
                <a:moveTo>
                  <a:pt x="1185027" y="0"/>
                </a:moveTo>
                <a:lnTo>
                  <a:pt x="4634708" y="0"/>
                </a:lnTo>
                <a:lnTo>
                  <a:pt x="351638" y="4115461"/>
                </a:lnTo>
                <a:cubicBezTo>
                  <a:pt x="156326" y="4303107"/>
                  <a:pt x="-996" y="4235779"/>
                  <a:pt x="5" y="3964804"/>
                </a:cubicBezTo>
                <a:lnTo>
                  <a:pt x="9340" y="1621000"/>
                </a:lnTo>
                <a:cubicBezTo>
                  <a:pt x="9340" y="1350025"/>
                  <a:pt x="169657" y="978388"/>
                  <a:pt x="364638" y="790411"/>
                </a:cubicBezTo>
                <a:close/>
              </a:path>
            </a:pathLst>
          </a:custGeom>
          <a:solidFill>
            <a:schemeClr val="accent6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</a:endParaRPr>
          </a:p>
        </p:txBody>
      </p:sp>
      <p:sp>
        <p:nvSpPr>
          <p:cNvPr id="5" name="Freeform: Shape 16">
            <a:extLst>
              <a:ext uri="{FF2B5EF4-FFF2-40B4-BE49-F238E27FC236}">
                <a16:creationId xmlns:a16="http://schemas.microsoft.com/office/drawing/2014/main" id="{20244A1B-E91F-4DA0-9D49-CE6504290C89}"/>
              </a:ext>
            </a:extLst>
          </p:cNvPr>
          <p:cNvSpPr>
            <a:spLocks/>
          </p:cNvSpPr>
          <p:nvPr/>
        </p:nvSpPr>
        <p:spPr bwMode="auto">
          <a:xfrm>
            <a:off x="1574800" y="1354138"/>
            <a:ext cx="4808538" cy="5518150"/>
          </a:xfrm>
          <a:custGeom>
            <a:avLst/>
            <a:gdLst>
              <a:gd name="T0" fmla="*/ 4663752 w 5262813"/>
              <a:gd name="T1" fmla="*/ 43 h 6037853"/>
              <a:gd name="T2" fmla="*/ 4809036 w 5262813"/>
              <a:gd name="T3" fmla="*/ 239569 h 6037853"/>
              <a:gd name="T4" fmla="*/ 4809036 w 5262813"/>
              <a:gd name="T5" fmla="*/ 2426776 h 6037853"/>
              <a:gd name="T6" fmla="*/ 4479028 w 5262813"/>
              <a:gd name="T7" fmla="*/ 3201571 h 6037853"/>
              <a:gd name="T8" fmla="*/ 2069040 w 5262813"/>
              <a:gd name="T9" fmla="*/ 5517250 h 6037853"/>
              <a:gd name="T10" fmla="*/ 0 w 5262813"/>
              <a:gd name="T11" fmla="*/ 5517250 h 6037853"/>
              <a:gd name="T12" fmla="*/ 2585 w 5262813"/>
              <a:gd name="T13" fmla="*/ 4868104 h 6037853"/>
              <a:gd name="T14" fmla="*/ 334145 w 5262813"/>
              <a:gd name="T15" fmla="*/ 4093005 h 6037853"/>
              <a:gd name="T16" fmla="*/ 4479337 w 5262813"/>
              <a:gd name="T17" fmla="*/ 99286 h 6037853"/>
              <a:gd name="T18" fmla="*/ 4663752 w 5262813"/>
              <a:gd name="T19" fmla="*/ 43 h 6037853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262813" h="6037853">
                <a:moveTo>
                  <a:pt x="5103820" y="47"/>
                </a:moveTo>
                <a:cubicBezTo>
                  <a:pt x="5199787" y="-2372"/>
                  <a:pt x="5262813" y="89212"/>
                  <a:pt x="5262813" y="262175"/>
                </a:cubicBezTo>
                <a:lnTo>
                  <a:pt x="5262813" y="2655765"/>
                </a:lnTo>
                <a:cubicBezTo>
                  <a:pt x="5262813" y="2932504"/>
                  <a:pt x="5101127" y="3312029"/>
                  <a:pt x="4901666" y="3503669"/>
                </a:cubicBezTo>
                <a:lnTo>
                  <a:pt x="2264273" y="6037853"/>
                </a:lnTo>
                <a:lnTo>
                  <a:pt x="0" y="6037853"/>
                </a:lnTo>
                <a:lnTo>
                  <a:pt x="2829" y="5327454"/>
                </a:lnTo>
                <a:cubicBezTo>
                  <a:pt x="2829" y="5050722"/>
                  <a:pt x="166552" y="4671190"/>
                  <a:pt x="365675" y="4479218"/>
                </a:cubicBezTo>
                <a:lnTo>
                  <a:pt x="4902004" y="108655"/>
                </a:lnTo>
                <a:cubicBezTo>
                  <a:pt x="4976802" y="36793"/>
                  <a:pt x="5046240" y="1499"/>
                  <a:pt x="5103820" y="47"/>
                </a:cubicBezTo>
                <a:close/>
              </a:path>
            </a:pathLst>
          </a:custGeom>
          <a:solidFill>
            <a:schemeClr val="tx2">
              <a:alpha val="38823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4630" cap="flat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endParaRPr lang="ru-RU"/>
          </a:p>
        </p:txBody>
      </p:sp>
      <p:sp>
        <p:nvSpPr>
          <p:cNvPr id="6" name="Freeform: Shape 15">
            <a:extLst>
              <a:ext uri="{FF2B5EF4-FFF2-40B4-BE49-F238E27FC236}">
                <a16:creationId xmlns:a16="http://schemas.microsoft.com/office/drawing/2014/main" id="{A8ECF3B3-29BA-4D8D-ACBE-098134D09879}"/>
              </a:ext>
            </a:extLst>
          </p:cNvPr>
          <p:cNvSpPr/>
          <p:nvPr/>
        </p:nvSpPr>
        <p:spPr>
          <a:xfrm>
            <a:off x="2924175" y="117475"/>
            <a:ext cx="7307263" cy="6740525"/>
          </a:xfrm>
          <a:custGeom>
            <a:avLst/>
            <a:gdLst>
              <a:gd name="connsiteX0" fmla="*/ 7075761 w 7307022"/>
              <a:gd name="connsiteY0" fmla="*/ 69 h 6740401"/>
              <a:gd name="connsiteX1" fmla="*/ 7307022 w 7307022"/>
              <a:gd name="connsiteY1" fmla="*/ 381343 h 6740401"/>
              <a:gd name="connsiteX2" fmla="*/ 7307022 w 7307022"/>
              <a:gd name="connsiteY2" fmla="*/ 3862913 h 6740401"/>
              <a:gd name="connsiteX3" fmla="*/ 6781719 w 7307022"/>
              <a:gd name="connsiteY3" fmla="*/ 5096222 h 6740401"/>
              <a:gd name="connsiteX4" fmla="*/ 5070578 w 7307022"/>
              <a:gd name="connsiteY4" fmla="*/ 6740401 h 6740401"/>
              <a:gd name="connsiteX5" fmla="*/ 0 w 7307022"/>
              <a:gd name="connsiteY5" fmla="*/ 6740401 h 6740401"/>
              <a:gd name="connsiteX6" fmla="*/ 78111 w 7307022"/>
              <a:gd name="connsiteY6" fmla="*/ 6631871 h 6740401"/>
              <a:gd name="connsiteX7" fmla="*/ 183945 w 7307022"/>
              <a:gd name="connsiteY7" fmla="*/ 6515197 h 6740401"/>
              <a:gd name="connsiteX8" fmla="*/ 6782211 w 7307022"/>
              <a:gd name="connsiteY8" fmla="*/ 158043 h 6740401"/>
              <a:gd name="connsiteX9" fmla="*/ 7075761 w 7307022"/>
              <a:gd name="connsiteY9" fmla="*/ 69 h 674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7022" h="6740401">
                <a:moveTo>
                  <a:pt x="7075761" y="69"/>
                </a:moveTo>
                <a:cubicBezTo>
                  <a:pt x="7215348" y="-3451"/>
                  <a:pt x="7307022" y="129763"/>
                  <a:pt x="7307022" y="381343"/>
                </a:cubicBezTo>
                <a:lnTo>
                  <a:pt x="7307022" y="3862913"/>
                </a:lnTo>
                <a:cubicBezTo>
                  <a:pt x="7307022" y="4265441"/>
                  <a:pt x="7071844" y="4817474"/>
                  <a:pt x="6781719" y="5096222"/>
                </a:cubicBezTo>
                <a:lnTo>
                  <a:pt x="5070578" y="6740401"/>
                </a:lnTo>
                <a:lnTo>
                  <a:pt x="0" y="6740401"/>
                </a:lnTo>
                <a:lnTo>
                  <a:pt x="78111" y="6631871"/>
                </a:lnTo>
                <a:cubicBezTo>
                  <a:pt x="112342" y="6589267"/>
                  <a:pt x="147741" y="6550100"/>
                  <a:pt x="183945" y="6515197"/>
                </a:cubicBezTo>
                <a:lnTo>
                  <a:pt x="6782211" y="158043"/>
                </a:lnTo>
                <a:cubicBezTo>
                  <a:pt x="6891008" y="53516"/>
                  <a:pt x="6992009" y="2181"/>
                  <a:pt x="7075761" y="69"/>
                </a:cubicBezTo>
                <a:close/>
              </a:path>
            </a:pathLst>
          </a:custGeom>
          <a:solidFill>
            <a:schemeClr val="accent4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8D9F6F10-CCCD-4C14-87D4-DF7492EE59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3E90005-E058-4D7E-9FD0-D6535E875B56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233940808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196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6">
            <a:extLst>
              <a:ext uri="{FF2B5EF4-FFF2-40B4-BE49-F238E27FC236}">
                <a16:creationId xmlns:a16="http://schemas.microsoft.com/office/drawing/2014/main" id="{103798CA-1311-4313-8F8C-8FCC4EC81CEA}"/>
              </a:ext>
            </a:extLst>
          </p:cNvPr>
          <p:cNvSpPr/>
          <p:nvPr/>
        </p:nvSpPr>
        <p:spPr>
          <a:xfrm>
            <a:off x="1558925" y="0"/>
            <a:ext cx="10633075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3" name="Picture 9">
            <a:extLst>
              <a:ext uri="{FF2B5EF4-FFF2-40B4-BE49-F238E27FC236}">
                <a16:creationId xmlns:a16="http://schemas.microsoft.com/office/drawing/2014/main" id="{2F56E3DC-F616-4368-9618-D812E20343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6550" y="250825"/>
            <a:ext cx="1282700" cy="1039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aphic 10">
            <a:extLst>
              <a:ext uri="{FF2B5EF4-FFF2-40B4-BE49-F238E27FC236}">
                <a16:creationId xmlns:a16="http://schemas.microsoft.com/office/drawing/2014/main" id="{C13FE7BA-7FBE-4205-807F-14EBA5525B2A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100000"/>
          </a:blip>
          <a:stretch>
            <a:fillRect/>
          </a:stretch>
        </p:blipFill>
        <p:spPr>
          <a:xfrm>
            <a:off x="627063" y="334963"/>
            <a:ext cx="1668462" cy="1008062"/>
          </a:xfrm>
          <a:prstGeom prst="rect">
            <a:avLst/>
          </a:prstGeom>
        </p:spPr>
      </p:pic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9951B4E0-455D-4225-9B06-A8224922FC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7A6D9F-F3A4-42B2-A40E-2EAEC7E68383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991487378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Picture Placeholder 170"/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2468992" cy="4189512"/>
          </a:xfrm>
          <a:custGeom>
            <a:avLst/>
            <a:gdLst>
              <a:gd name="connsiteX0" fmla="*/ 2023284 w 2468992"/>
              <a:gd name="connsiteY0" fmla="*/ 0 h 4189512"/>
              <a:gd name="connsiteX1" fmla="*/ 2468992 w 2468992"/>
              <a:gd name="connsiteY1" fmla="*/ 0 h 4189512"/>
              <a:gd name="connsiteX2" fmla="*/ 2468992 w 2468992"/>
              <a:gd name="connsiteY2" fmla="*/ 1485749 h 4189512"/>
              <a:gd name="connsiteX3" fmla="*/ 2230055 w 2468992"/>
              <a:gd name="connsiteY3" fmla="*/ 2046726 h 4189512"/>
              <a:gd name="connsiteX4" fmla="*/ 0 w 2468992"/>
              <a:gd name="connsiteY4" fmla="*/ 4189512 h 4189512"/>
              <a:gd name="connsiteX5" fmla="*/ 0 w 2468992"/>
              <a:gd name="connsiteY5" fmla="*/ 1949350 h 4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68992" h="4189512">
                <a:moveTo>
                  <a:pt x="2023284" y="0"/>
                </a:moveTo>
                <a:lnTo>
                  <a:pt x="2468992" y="0"/>
                </a:lnTo>
                <a:lnTo>
                  <a:pt x="2468992" y="1485749"/>
                </a:lnTo>
                <a:cubicBezTo>
                  <a:pt x="2468992" y="1668841"/>
                  <a:pt x="2362019" y="1919936"/>
                  <a:pt x="2230055" y="2046726"/>
                </a:cubicBezTo>
                <a:lnTo>
                  <a:pt x="0" y="4189512"/>
                </a:lnTo>
                <a:lnTo>
                  <a:pt x="0" y="1949350"/>
                </a:ln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73" name="Picture Placeholder 172"/>
          <p:cNvSpPr>
            <a:spLocks noGrp="1"/>
          </p:cNvSpPr>
          <p:nvPr>
            <p:ph type="pic" sz="quarter" idx="11"/>
          </p:nvPr>
        </p:nvSpPr>
        <p:spPr>
          <a:xfrm>
            <a:off x="1714666" y="3771987"/>
            <a:ext cx="3336776" cy="3086012"/>
          </a:xfrm>
          <a:custGeom>
            <a:avLst/>
            <a:gdLst>
              <a:gd name="connsiteX0" fmla="*/ 105190 w 3336776"/>
              <a:gd name="connsiteY0" fmla="*/ 31 h 3086012"/>
              <a:gd name="connsiteX1" fmla="*/ 238713 w 3336776"/>
              <a:gd name="connsiteY1" fmla="*/ 71887 h 3086012"/>
              <a:gd name="connsiteX2" fmla="*/ 3239968 w 3336776"/>
              <a:gd name="connsiteY2" fmla="*/ 2963471 h 3086012"/>
              <a:gd name="connsiteX3" fmla="*/ 3333056 w 3336776"/>
              <a:gd name="connsiteY3" fmla="*/ 3078994 h 3086012"/>
              <a:gd name="connsiteX4" fmla="*/ 3336776 w 3336776"/>
              <a:gd name="connsiteY4" fmla="*/ 3086012 h 3086012"/>
              <a:gd name="connsiteX5" fmla="*/ 1038182 w 3336776"/>
              <a:gd name="connsiteY5" fmla="*/ 3086012 h 3086012"/>
              <a:gd name="connsiteX6" fmla="*/ 238937 w 3336776"/>
              <a:gd name="connsiteY6" fmla="*/ 2318043 h 3086012"/>
              <a:gd name="connsiteX7" fmla="*/ 0 w 3336776"/>
              <a:gd name="connsiteY7" fmla="*/ 1757066 h 3086012"/>
              <a:gd name="connsiteX8" fmla="*/ 0 w 3336776"/>
              <a:gd name="connsiteY8" fmla="*/ 173456 h 3086012"/>
              <a:gd name="connsiteX9" fmla="*/ 105190 w 3336776"/>
              <a:gd name="connsiteY9" fmla="*/ 31 h 308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776" h="3086012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3239968" y="2963471"/>
                </a:lnTo>
                <a:cubicBezTo>
                  <a:pt x="3272903" y="2995224"/>
                  <a:pt x="3304375" y="3034732"/>
                  <a:pt x="3333056" y="3078994"/>
                </a:cubicBezTo>
                <a:lnTo>
                  <a:pt x="3336776" y="3086012"/>
                </a:lnTo>
                <a:lnTo>
                  <a:pt x="1038182" y="3086012"/>
                </a:lnTo>
                <a:lnTo>
                  <a:pt x="238937" y="2318043"/>
                </a:lnTo>
                <a:cubicBezTo>
                  <a:pt x="106972" y="2191253"/>
                  <a:pt x="0" y="1940158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74" name="Picture Placeholder 173"/>
          <p:cNvSpPr>
            <a:spLocks noGrp="1"/>
          </p:cNvSpPr>
          <p:nvPr>
            <p:ph type="pic" sz="quarter" idx="12"/>
          </p:nvPr>
        </p:nvSpPr>
        <p:spPr>
          <a:xfrm>
            <a:off x="404898" y="4763759"/>
            <a:ext cx="2337771" cy="2094241"/>
          </a:xfrm>
          <a:custGeom>
            <a:avLst/>
            <a:gdLst>
              <a:gd name="connsiteX0" fmla="*/ 105190 w 2337771"/>
              <a:gd name="connsiteY0" fmla="*/ 31 h 2094241"/>
              <a:gd name="connsiteX1" fmla="*/ 238713 w 2337771"/>
              <a:gd name="connsiteY1" fmla="*/ 71887 h 2094241"/>
              <a:gd name="connsiteX2" fmla="*/ 2337771 w 2337771"/>
              <a:gd name="connsiteY2" fmla="*/ 2094241 h 2094241"/>
              <a:gd name="connsiteX3" fmla="*/ 88746 w 2337771"/>
              <a:gd name="connsiteY3" fmla="*/ 2094241 h 2094241"/>
              <a:gd name="connsiteX4" fmla="*/ 69981 w 2337771"/>
              <a:gd name="connsiteY4" fmla="*/ 2058668 h 2094241"/>
              <a:gd name="connsiteX5" fmla="*/ 0 w 2337771"/>
              <a:gd name="connsiteY5" fmla="*/ 1757066 h 2094241"/>
              <a:gd name="connsiteX6" fmla="*/ 0 w 2337771"/>
              <a:gd name="connsiteY6" fmla="*/ 173456 h 2094241"/>
              <a:gd name="connsiteX7" fmla="*/ 105190 w 2337771"/>
              <a:gd name="connsiteY7" fmla="*/ 31 h 209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7771" h="2094241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2337771" y="2094241"/>
                </a:lnTo>
                <a:lnTo>
                  <a:pt x="88746" y="2094241"/>
                </a:lnTo>
                <a:lnTo>
                  <a:pt x="69981" y="2058668"/>
                </a:lnTo>
                <a:cubicBezTo>
                  <a:pt x="26743" y="1957159"/>
                  <a:pt x="0" y="1848612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5663952" y="1223149"/>
            <a:ext cx="5904162" cy="50141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273" name="Text Placeholder 272"/>
          <p:cNvSpPr>
            <a:spLocks noGrp="1"/>
          </p:cNvSpPr>
          <p:nvPr>
            <p:ph type="body" sz="quarter" idx="14"/>
          </p:nvPr>
        </p:nvSpPr>
        <p:spPr>
          <a:xfrm>
            <a:off x="0" y="971889"/>
            <a:ext cx="3008278" cy="4979012"/>
          </a:xfrm>
          <a:custGeom>
            <a:avLst/>
            <a:gdLst>
              <a:gd name="connsiteX0" fmla="*/ 2903087 w 3008278"/>
              <a:gd name="connsiteY0" fmla="*/ 31 h 4979012"/>
              <a:gd name="connsiteX1" fmla="*/ 3008278 w 3008278"/>
              <a:gd name="connsiteY1" fmla="*/ 173456 h 4979012"/>
              <a:gd name="connsiteX2" fmla="*/ 3008278 w 3008278"/>
              <a:gd name="connsiteY2" fmla="*/ 1757066 h 4979012"/>
              <a:gd name="connsiteX3" fmla="*/ 2769341 w 3008278"/>
              <a:gd name="connsiteY3" fmla="*/ 2318044 h 4979012"/>
              <a:gd name="connsiteX4" fmla="*/ 0 w 3008278"/>
              <a:gd name="connsiteY4" fmla="*/ 4979012 h 4979012"/>
              <a:gd name="connsiteX5" fmla="*/ 0 w 3008278"/>
              <a:gd name="connsiteY5" fmla="*/ 2740246 h 4979012"/>
              <a:gd name="connsiteX6" fmla="*/ 2769564 w 3008278"/>
              <a:gd name="connsiteY6" fmla="*/ 71887 h 4979012"/>
              <a:gd name="connsiteX7" fmla="*/ 2903087 w 3008278"/>
              <a:gd name="connsiteY7" fmla="*/ 31 h 497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8278" h="4979012">
                <a:moveTo>
                  <a:pt x="2903087" y="31"/>
                </a:moveTo>
                <a:cubicBezTo>
                  <a:pt x="2966579" y="-1570"/>
                  <a:pt x="3008278" y="59023"/>
                  <a:pt x="3008278" y="173456"/>
                </a:cubicBezTo>
                <a:lnTo>
                  <a:pt x="3008278" y="1757066"/>
                </a:lnTo>
                <a:cubicBezTo>
                  <a:pt x="3008278" y="1940158"/>
                  <a:pt x="2901305" y="2191253"/>
                  <a:pt x="2769341" y="2318044"/>
                </a:cubicBezTo>
                <a:lnTo>
                  <a:pt x="0" y="4979012"/>
                </a:lnTo>
                <a:lnTo>
                  <a:pt x="0" y="2740246"/>
                </a:lnTo>
                <a:lnTo>
                  <a:pt x="2769564" y="71887"/>
                </a:lnTo>
                <a:cubicBezTo>
                  <a:pt x="2819051" y="24342"/>
                  <a:pt x="2864992" y="992"/>
                  <a:pt x="2903087" y="3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anchor="ctr">
            <a:noAutofit/>
          </a:bodyPr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>
                <a:solidFill>
                  <a:schemeClr val="accent2"/>
                </a:solidFill>
              </a:defRPr>
            </a:lvl2pPr>
            <a:lvl3pPr>
              <a:defRPr sz="100">
                <a:solidFill>
                  <a:schemeClr val="accent2"/>
                </a:solidFill>
              </a:defRPr>
            </a:lvl3pPr>
            <a:lvl4pPr>
              <a:defRPr sz="100">
                <a:solidFill>
                  <a:schemeClr val="accent2"/>
                </a:solidFill>
              </a:defRPr>
            </a:lvl4pPr>
            <a:lvl5pPr algn="ctr">
              <a:defRPr sz="100">
                <a:solidFill>
                  <a:schemeClr val="accent2">
                    <a:alpha val="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4" name="Text Placeholder 273"/>
          <p:cNvSpPr>
            <a:spLocks noGrp="1"/>
          </p:cNvSpPr>
          <p:nvPr>
            <p:ph type="body" sz="quarter" idx="15"/>
          </p:nvPr>
        </p:nvSpPr>
        <p:spPr>
          <a:xfrm>
            <a:off x="0" y="4293095"/>
            <a:ext cx="1581031" cy="2395295"/>
          </a:xfrm>
          <a:custGeom>
            <a:avLst/>
            <a:gdLst>
              <a:gd name="connsiteX0" fmla="*/ 1994280 w 2056324"/>
              <a:gd name="connsiteY0" fmla="*/ 19 h 3115375"/>
              <a:gd name="connsiteX1" fmla="*/ 2056324 w 2056324"/>
              <a:gd name="connsiteY1" fmla="*/ 102309 h 3115375"/>
              <a:gd name="connsiteX2" fmla="*/ 2056324 w 2056324"/>
              <a:gd name="connsiteY2" fmla="*/ 1036357 h 3115375"/>
              <a:gd name="connsiteX3" fmla="*/ 1915394 w 2056324"/>
              <a:gd name="connsiteY3" fmla="*/ 1367234 h 3115375"/>
              <a:gd name="connsiteX4" fmla="*/ 140135 w 2056324"/>
              <a:gd name="connsiteY4" fmla="*/ 3073019 h 3115375"/>
              <a:gd name="connsiteX5" fmla="*/ 2 w 2056324"/>
              <a:gd name="connsiteY5" fmla="*/ 3012980 h 3115375"/>
              <a:gd name="connsiteX6" fmla="*/ 3723 w 2056324"/>
              <a:gd name="connsiteY6" fmla="*/ 2078928 h 3115375"/>
              <a:gd name="connsiteX7" fmla="*/ 145316 w 2056324"/>
              <a:gd name="connsiteY7" fmla="*/ 1747922 h 3115375"/>
              <a:gd name="connsiteX8" fmla="*/ 1915526 w 2056324"/>
              <a:gd name="connsiteY8" fmla="*/ 42401 h 3115375"/>
              <a:gd name="connsiteX9" fmla="*/ 1994280 w 2056324"/>
              <a:gd name="connsiteY9" fmla="*/ 19 h 31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6324" h="3115375">
                <a:moveTo>
                  <a:pt x="1994280" y="19"/>
                </a:moveTo>
                <a:cubicBezTo>
                  <a:pt x="2031729" y="-925"/>
                  <a:pt x="2056324" y="34814"/>
                  <a:pt x="2056324" y="102309"/>
                </a:cubicBezTo>
                <a:lnTo>
                  <a:pt x="2056324" y="1036357"/>
                </a:lnTo>
                <a:cubicBezTo>
                  <a:pt x="2056324" y="1144349"/>
                  <a:pt x="1993229" y="1292451"/>
                  <a:pt x="1915394" y="1367234"/>
                </a:cubicBezTo>
                <a:lnTo>
                  <a:pt x="140135" y="3073019"/>
                </a:lnTo>
                <a:cubicBezTo>
                  <a:pt x="62300" y="3147800"/>
                  <a:pt x="-397" y="3120969"/>
                  <a:pt x="2" y="3012980"/>
                </a:cubicBezTo>
                <a:lnTo>
                  <a:pt x="3723" y="2078928"/>
                </a:lnTo>
                <a:cubicBezTo>
                  <a:pt x="3723" y="1970939"/>
                  <a:pt x="67612" y="1822835"/>
                  <a:pt x="145316" y="1747922"/>
                </a:cubicBezTo>
                <a:lnTo>
                  <a:pt x="1915526" y="42401"/>
                </a:lnTo>
                <a:cubicBezTo>
                  <a:pt x="1944714" y="14358"/>
                  <a:pt x="1971811" y="586"/>
                  <a:pt x="1994280" y="1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>
            <a:noAutofit/>
          </a:bodyPr>
          <a:lstStyle>
            <a:lvl1pPr>
              <a:defRPr sz="100">
                <a:solidFill>
                  <a:schemeClr val="accent4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accent4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accent4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accent4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accent4">
                    <a:alpha val="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5664386" y="332657"/>
            <a:ext cx="5892296" cy="7566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93F4738-B534-4E88-A6E7-8AD43A15AB3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84227626-AEC4-4865-8ED0-2E79EDE1C6E7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930769249"/>
      </p:ext>
    </p:extLst>
  </p:cSld>
  <p:clrMapOvr>
    <a:masterClrMapping/>
  </p:clrMapOvr>
  <p:transition spd="slow">
    <p:fade/>
  </p:transition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Text Placeholder 274"/>
          <p:cNvSpPr>
            <a:spLocks noGrp="1"/>
          </p:cNvSpPr>
          <p:nvPr>
            <p:ph type="body" sz="quarter" idx="17"/>
          </p:nvPr>
        </p:nvSpPr>
        <p:spPr>
          <a:xfrm>
            <a:off x="8239011" y="251884"/>
            <a:ext cx="3952991" cy="6606117"/>
          </a:xfrm>
          <a:custGeom>
            <a:avLst/>
            <a:gdLst>
              <a:gd name="connsiteX0" fmla="*/ 3952991 w 3952991"/>
              <a:gd name="connsiteY0" fmla="*/ 0 h 6606117"/>
              <a:gd name="connsiteX1" fmla="*/ 3952991 w 3952991"/>
              <a:gd name="connsiteY1" fmla="*/ 3536651 h 6606117"/>
              <a:gd name="connsiteX2" fmla="*/ 3952991 w 3952991"/>
              <a:gd name="connsiteY2" fmla="*/ 6606117 h 6606117"/>
              <a:gd name="connsiteX3" fmla="*/ 0 w 3952991"/>
              <a:gd name="connsiteY3" fmla="*/ 6606117 h 6606117"/>
              <a:gd name="connsiteX4" fmla="*/ 9106 w 3952991"/>
              <a:gd name="connsiteY4" fmla="*/ 4319713 h 6606117"/>
              <a:gd name="connsiteX5" fmla="*/ 387448 w 3952991"/>
              <a:gd name="connsiteY5" fmla="*/ 3435252 h 6606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2991" h="6606117">
                <a:moveTo>
                  <a:pt x="3952991" y="0"/>
                </a:moveTo>
                <a:lnTo>
                  <a:pt x="3952991" y="3536651"/>
                </a:lnTo>
                <a:lnTo>
                  <a:pt x="3952991" y="6606117"/>
                </a:lnTo>
                <a:lnTo>
                  <a:pt x="0" y="6606117"/>
                </a:lnTo>
                <a:lnTo>
                  <a:pt x="9106" y="4319713"/>
                </a:lnTo>
                <a:cubicBezTo>
                  <a:pt x="9106" y="4031162"/>
                  <a:pt x="179820" y="3635422"/>
                  <a:pt x="387448" y="3435252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3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638631" y="1223149"/>
            <a:ext cx="7085111" cy="501414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274" name="Title 6"/>
          <p:cNvSpPr>
            <a:spLocks noGrp="1"/>
          </p:cNvSpPr>
          <p:nvPr>
            <p:ph type="title"/>
          </p:nvPr>
        </p:nvSpPr>
        <p:spPr>
          <a:xfrm>
            <a:off x="639066" y="332657"/>
            <a:ext cx="7070872" cy="756691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276" name="Text Placeholder 275"/>
          <p:cNvSpPr>
            <a:spLocks noGrp="1"/>
          </p:cNvSpPr>
          <p:nvPr>
            <p:ph type="body" sz="quarter" idx="18"/>
          </p:nvPr>
        </p:nvSpPr>
        <p:spPr>
          <a:xfrm>
            <a:off x="10434450" y="586169"/>
            <a:ext cx="1757550" cy="3862863"/>
          </a:xfrm>
          <a:custGeom>
            <a:avLst/>
            <a:gdLst>
              <a:gd name="connsiteX0" fmla="*/ 108677 w 1757550"/>
              <a:gd name="connsiteY0" fmla="*/ 30 h 3862863"/>
              <a:gd name="connsiteX1" fmla="*/ 247691 w 1757550"/>
              <a:gd name="connsiteY1" fmla="*/ 74865 h 3862863"/>
              <a:gd name="connsiteX2" fmla="*/ 1757550 w 1757550"/>
              <a:gd name="connsiteY2" fmla="*/ 1525639 h 3862863"/>
              <a:gd name="connsiteX3" fmla="*/ 1757550 w 1757550"/>
              <a:gd name="connsiteY3" fmla="*/ 3862863 h 3862863"/>
              <a:gd name="connsiteX4" fmla="*/ 256848 w 1757550"/>
              <a:gd name="connsiteY4" fmla="*/ 2416999 h 3862863"/>
              <a:gd name="connsiteX5" fmla="*/ 6579 w 1757550"/>
              <a:gd name="connsiteY5" fmla="*/ 1831940 h 3862863"/>
              <a:gd name="connsiteX6" fmla="*/ 4 w 1757550"/>
              <a:gd name="connsiteY6" fmla="*/ 180987 h 3862863"/>
              <a:gd name="connsiteX7" fmla="*/ 71992 w 1757550"/>
              <a:gd name="connsiteY7" fmla="*/ 6783 h 3862863"/>
              <a:gd name="connsiteX8" fmla="*/ 108677 w 1757550"/>
              <a:gd name="connsiteY8" fmla="*/ 30 h 386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7550" h="386286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1757550" y="1525639"/>
                </a:lnTo>
                <a:lnTo>
                  <a:pt x="1757550" y="3862863"/>
                </a:ln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348" y="85550"/>
                  <a:pt x="27179" y="25976"/>
                  <a:pt x="71992" y="6783"/>
                </a:cubicBezTo>
                <a:cubicBezTo>
                  <a:pt x="83195" y="1985"/>
                  <a:pt x="95479" y="-290"/>
                  <a:pt x="108677" y="30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5" name="Picture Placeholder 174"/>
          <p:cNvSpPr>
            <a:spLocks noGrp="1"/>
          </p:cNvSpPr>
          <p:nvPr>
            <p:ph type="pic" sz="quarter" idx="14"/>
          </p:nvPr>
        </p:nvSpPr>
        <p:spPr>
          <a:xfrm>
            <a:off x="8572858" y="353298"/>
            <a:ext cx="3634587" cy="5506483"/>
          </a:xfrm>
          <a:custGeom>
            <a:avLst/>
            <a:gdLst>
              <a:gd name="connsiteX0" fmla="*/ 108677 w 3634587"/>
              <a:gd name="connsiteY0" fmla="*/ 30 h 5506483"/>
              <a:gd name="connsiteX1" fmla="*/ 247691 w 3634587"/>
              <a:gd name="connsiteY1" fmla="*/ 74865 h 5506483"/>
              <a:gd name="connsiteX2" fmla="*/ 3385489 w 3634587"/>
              <a:gd name="connsiteY2" fmla="*/ 3089872 h 5506483"/>
              <a:gd name="connsiteX3" fmla="*/ 3634587 w 3634587"/>
              <a:gd name="connsiteY3" fmla="*/ 3674704 h 5506483"/>
              <a:gd name="connsiteX4" fmla="*/ 3634587 w 3634587"/>
              <a:gd name="connsiteY4" fmla="*/ 5325652 h 5506483"/>
              <a:gd name="connsiteX5" fmla="*/ 3385723 w 3634587"/>
              <a:gd name="connsiteY5" fmla="*/ 5431540 h 5506483"/>
              <a:gd name="connsiteX6" fmla="*/ 256848 w 3634587"/>
              <a:gd name="connsiteY6" fmla="*/ 2416999 h 5506483"/>
              <a:gd name="connsiteX7" fmla="*/ 6579 w 3634587"/>
              <a:gd name="connsiteY7" fmla="*/ 1831940 h 5506483"/>
              <a:gd name="connsiteX8" fmla="*/ 4 w 3634587"/>
              <a:gd name="connsiteY8" fmla="*/ 180987 h 5506483"/>
              <a:gd name="connsiteX9" fmla="*/ 108677 w 3634587"/>
              <a:gd name="connsiteY9" fmla="*/ 30 h 5506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34587" h="550648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3385489" y="3089872"/>
                </a:lnTo>
                <a:cubicBezTo>
                  <a:pt x="3523065" y="3222054"/>
                  <a:pt x="3634587" y="3483826"/>
                  <a:pt x="3634587" y="3674704"/>
                </a:cubicBezTo>
                <a:lnTo>
                  <a:pt x="3634587" y="5325652"/>
                </a:lnTo>
                <a:cubicBezTo>
                  <a:pt x="3634587" y="5516530"/>
                  <a:pt x="3523299" y="5563717"/>
                  <a:pt x="3385723" y="5431540"/>
                </a:cubicBez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437" y="61691"/>
                  <a:pt x="42686" y="-1570"/>
                  <a:pt x="108677" y="3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82" name="Picture Placeholder 181"/>
          <p:cNvSpPr>
            <a:spLocks noGrp="1"/>
          </p:cNvSpPr>
          <p:nvPr>
            <p:ph type="pic" sz="quarter" idx="16"/>
          </p:nvPr>
        </p:nvSpPr>
        <p:spPr>
          <a:xfrm>
            <a:off x="11540909" y="1787732"/>
            <a:ext cx="666536" cy="1767448"/>
          </a:xfrm>
          <a:custGeom>
            <a:avLst/>
            <a:gdLst>
              <a:gd name="connsiteX0" fmla="*/ 666536 w 666536"/>
              <a:gd name="connsiteY0" fmla="*/ 0 h 1767448"/>
              <a:gd name="connsiteX1" fmla="*/ 666536 w 666536"/>
              <a:gd name="connsiteY1" fmla="*/ 1211608 h 1767448"/>
              <a:gd name="connsiteX2" fmla="*/ 128469 w 666536"/>
              <a:gd name="connsiteY2" fmla="*/ 1728619 h 1767448"/>
              <a:gd name="connsiteX3" fmla="*/ 2 w 666536"/>
              <a:gd name="connsiteY3" fmla="*/ 1673577 h 1767448"/>
              <a:gd name="connsiteX4" fmla="*/ 3413 w 666536"/>
              <a:gd name="connsiteY4" fmla="*/ 817280 h 1767448"/>
              <a:gd name="connsiteX5" fmla="*/ 133219 w 666536"/>
              <a:gd name="connsiteY5" fmla="*/ 513829 h 17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6536" h="1767448">
                <a:moveTo>
                  <a:pt x="666536" y="0"/>
                </a:moveTo>
                <a:lnTo>
                  <a:pt x="666536" y="1211608"/>
                </a:lnTo>
                <a:lnTo>
                  <a:pt x="128469" y="1728619"/>
                </a:lnTo>
                <a:cubicBezTo>
                  <a:pt x="57113" y="1797174"/>
                  <a:pt x="-364" y="1772576"/>
                  <a:pt x="2" y="1673577"/>
                </a:cubicBezTo>
                <a:lnTo>
                  <a:pt x="3413" y="817280"/>
                </a:lnTo>
                <a:cubicBezTo>
                  <a:pt x="3413" y="718281"/>
                  <a:pt x="61983" y="582505"/>
                  <a:pt x="133219" y="5138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rtlCol="0" anchor="ctr">
            <a:noAutofit/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78" name="Picture Placeholder 177"/>
          <p:cNvSpPr>
            <a:spLocks noGrp="1"/>
          </p:cNvSpPr>
          <p:nvPr>
            <p:ph type="pic" sz="quarter" idx="15"/>
          </p:nvPr>
        </p:nvSpPr>
        <p:spPr>
          <a:xfrm rot="10800000" flipV="1">
            <a:off x="7674397" y="3408318"/>
            <a:ext cx="3743174" cy="3441037"/>
          </a:xfrm>
          <a:custGeom>
            <a:avLst/>
            <a:gdLst>
              <a:gd name="connsiteX0" fmla="*/ 119273 w 3743174"/>
              <a:gd name="connsiteY0" fmla="*/ 36 h 3441037"/>
              <a:gd name="connsiteX1" fmla="*/ 0 w 3743174"/>
              <a:gd name="connsiteY1" fmla="*/ 196679 h 3441037"/>
              <a:gd name="connsiteX2" fmla="*/ 0 w 3743174"/>
              <a:gd name="connsiteY2" fmla="*/ 1992304 h 3441037"/>
              <a:gd name="connsiteX3" fmla="*/ 270926 w 3743174"/>
              <a:gd name="connsiteY3" fmla="*/ 2628386 h 3441037"/>
              <a:gd name="connsiteX4" fmla="*/ 1116674 w 3743174"/>
              <a:gd name="connsiteY4" fmla="*/ 3441037 h 3441037"/>
              <a:gd name="connsiteX5" fmla="*/ 3743174 w 3743174"/>
              <a:gd name="connsiteY5" fmla="*/ 3441037 h 3441037"/>
              <a:gd name="connsiteX6" fmla="*/ 3728321 w 3743174"/>
              <a:gd name="connsiteY6" fmla="*/ 3420399 h 3441037"/>
              <a:gd name="connsiteX7" fmla="*/ 3673737 w 3743174"/>
              <a:gd name="connsiteY7" fmla="*/ 3360224 h 3441037"/>
              <a:gd name="connsiteX8" fmla="*/ 270672 w 3743174"/>
              <a:gd name="connsiteY8" fmla="*/ 81512 h 3441037"/>
              <a:gd name="connsiteX9" fmla="*/ 119273 w 3743174"/>
              <a:gd name="connsiteY9" fmla="*/ 36 h 3441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3174" h="3441037">
                <a:moveTo>
                  <a:pt x="119273" y="36"/>
                </a:moveTo>
                <a:cubicBezTo>
                  <a:pt x="47281" y="-1779"/>
                  <a:pt x="0" y="66926"/>
                  <a:pt x="0" y="196679"/>
                </a:cubicBezTo>
                <a:lnTo>
                  <a:pt x="0" y="1992304"/>
                </a:lnTo>
                <a:cubicBezTo>
                  <a:pt x="0" y="2199909"/>
                  <a:pt x="121294" y="2484621"/>
                  <a:pt x="270926" y="2628386"/>
                </a:cubicBezTo>
                <a:lnTo>
                  <a:pt x="1116674" y="3441037"/>
                </a:lnTo>
                <a:lnTo>
                  <a:pt x="3743174" y="3441037"/>
                </a:lnTo>
                <a:lnTo>
                  <a:pt x="3728321" y="3420399"/>
                </a:lnTo>
                <a:cubicBezTo>
                  <a:pt x="3710666" y="3398426"/>
                  <a:pt x="3692409" y="3378226"/>
                  <a:pt x="3673737" y="3360224"/>
                </a:cubicBezTo>
                <a:lnTo>
                  <a:pt x="270672" y="81512"/>
                </a:lnTo>
                <a:cubicBezTo>
                  <a:pt x="214560" y="27602"/>
                  <a:pt x="162469" y="1126"/>
                  <a:pt x="119273" y="3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873D6C2-D09B-4857-BF7E-B968F17CF77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fld id="{4CCAC5D6-88CC-4CBC-AD8A-549945BCD900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30576091"/>
      </p:ext>
    </p:extLst>
  </p:cSld>
  <p:clrMapOvr>
    <a:masterClrMapping/>
  </p:clrMapOvr>
  <p:transition spd="slow">
    <p:fade/>
  </p:transition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20" hidden="1">
            <a:extLst>
              <a:ext uri="{FF2B5EF4-FFF2-40B4-BE49-F238E27FC236}">
                <a16:creationId xmlns:a16="http://schemas.microsoft.com/office/drawing/2014/main" id="{8316D1EF-1A3B-4787-B516-D544FA86351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146" name="Object 20" hidden="1">
                        <a:extLst>
                          <a:ext uri="{FF2B5EF4-FFF2-40B4-BE49-F238E27FC236}">
                            <a16:creationId xmlns:a16="http://schemas.microsoft.com/office/drawing/2014/main" id="{561EFED0-3F25-4412-A3D4-EA47846BD43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xt Placeholder 64"/>
          <p:cNvSpPr>
            <a:spLocks noGrp="1"/>
          </p:cNvSpPr>
          <p:nvPr>
            <p:ph type="body" sz="quarter" idx="21"/>
          </p:nvPr>
        </p:nvSpPr>
        <p:spPr>
          <a:xfrm>
            <a:off x="0" y="2"/>
            <a:ext cx="4888254" cy="6857999"/>
          </a:xfrm>
          <a:custGeom>
            <a:avLst/>
            <a:gdLst>
              <a:gd name="connsiteX0" fmla="*/ 3424860 w 4888254"/>
              <a:gd name="connsiteY0" fmla="*/ 0 h 6857999"/>
              <a:gd name="connsiteX1" fmla="*/ 4888254 w 4888254"/>
              <a:gd name="connsiteY1" fmla="*/ 0 h 6857999"/>
              <a:gd name="connsiteX2" fmla="*/ 4888254 w 4888254"/>
              <a:gd name="connsiteY2" fmla="*/ 5609609 h 6857999"/>
              <a:gd name="connsiteX3" fmla="*/ 4639839 w 4888254"/>
              <a:gd name="connsiteY3" fmla="*/ 6194112 h 6857999"/>
              <a:gd name="connsiteX4" fmla="*/ 3951970 w 4888254"/>
              <a:gd name="connsiteY4" fmla="*/ 6857999 h 6857999"/>
              <a:gd name="connsiteX5" fmla="*/ 0 w 4888254"/>
              <a:gd name="connsiteY5" fmla="*/ 6857999 h 6857999"/>
              <a:gd name="connsiteX6" fmla="*/ 0 w 4888254"/>
              <a:gd name="connsiteY6" fmla="*/ 331425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88254" h="6857999">
                <a:moveTo>
                  <a:pt x="3424860" y="0"/>
                </a:moveTo>
                <a:lnTo>
                  <a:pt x="4888254" y="0"/>
                </a:lnTo>
                <a:lnTo>
                  <a:pt x="4888254" y="5609609"/>
                </a:lnTo>
                <a:cubicBezTo>
                  <a:pt x="4888254" y="5800303"/>
                  <a:pt x="4776955" y="6062110"/>
                  <a:pt x="4639839" y="6194112"/>
                </a:cubicBezTo>
                <a:lnTo>
                  <a:pt x="3951970" y="6857999"/>
                </a:lnTo>
                <a:lnTo>
                  <a:pt x="0" y="6857999"/>
                </a:lnTo>
                <a:lnTo>
                  <a:pt x="0" y="3314259"/>
                </a:lnTo>
                <a:close/>
              </a:path>
            </a:pathLst>
          </a:custGeom>
          <a:solidFill>
            <a:schemeClr val="tx2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3" name="Text Placeholder 62"/>
          <p:cNvSpPr>
            <a:spLocks noGrp="1"/>
          </p:cNvSpPr>
          <p:nvPr>
            <p:ph type="body" sz="quarter" idx="20"/>
          </p:nvPr>
        </p:nvSpPr>
        <p:spPr>
          <a:xfrm>
            <a:off x="0" y="0"/>
            <a:ext cx="1593121" cy="2779244"/>
          </a:xfrm>
          <a:custGeom>
            <a:avLst/>
            <a:gdLst>
              <a:gd name="connsiteX0" fmla="*/ 453341 w 1593121"/>
              <a:gd name="connsiteY0" fmla="*/ 0 h 2779244"/>
              <a:gd name="connsiteX1" fmla="*/ 1593121 w 1593121"/>
              <a:gd name="connsiteY1" fmla="*/ 0 h 2779244"/>
              <a:gd name="connsiteX2" fmla="*/ 1593121 w 1593121"/>
              <a:gd name="connsiteY2" fmla="*/ 879158 h 2779244"/>
              <a:gd name="connsiteX3" fmla="*/ 1346047 w 1593121"/>
              <a:gd name="connsiteY3" fmla="*/ 1465365 h 2779244"/>
              <a:gd name="connsiteX4" fmla="*/ 0 w 1593121"/>
              <a:gd name="connsiteY4" fmla="*/ 2779244 h 2779244"/>
              <a:gd name="connsiteX5" fmla="*/ 0 w 1593121"/>
              <a:gd name="connsiteY5" fmla="*/ 443589 h 277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93121" h="2779244">
                <a:moveTo>
                  <a:pt x="453341" y="0"/>
                </a:moveTo>
                <a:lnTo>
                  <a:pt x="1593121" y="0"/>
                </a:lnTo>
                <a:lnTo>
                  <a:pt x="1593121" y="879158"/>
                </a:lnTo>
                <a:cubicBezTo>
                  <a:pt x="1593121" y="1069731"/>
                  <a:pt x="1482554" y="1332270"/>
                  <a:pt x="1346047" y="1465365"/>
                </a:cubicBezTo>
                <a:lnTo>
                  <a:pt x="0" y="2779244"/>
                </a:lnTo>
                <a:lnTo>
                  <a:pt x="0" y="443589"/>
                </a:lnTo>
                <a:close/>
              </a:path>
            </a:pathLst>
          </a:custGeom>
          <a:solidFill>
            <a:schemeClr val="accent4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9" name="Picture Placeholder 48"/>
          <p:cNvSpPr>
            <a:spLocks noGrp="1"/>
          </p:cNvSpPr>
          <p:nvPr>
            <p:ph type="pic" sz="quarter" idx="18"/>
          </p:nvPr>
        </p:nvSpPr>
        <p:spPr>
          <a:xfrm>
            <a:off x="1828129" y="3913258"/>
            <a:ext cx="3184894" cy="2944742"/>
          </a:xfrm>
          <a:custGeom>
            <a:avLst/>
            <a:gdLst>
              <a:gd name="connsiteX0" fmla="*/ 107776 w 3184894"/>
              <a:gd name="connsiteY0" fmla="*/ 52 h 2944742"/>
              <a:gd name="connsiteX1" fmla="*/ 245616 w 3184894"/>
              <a:gd name="connsiteY1" fmla="*/ 75939 h 2944742"/>
              <a:gd name="connsiteX2" fmla="*/ 3184894 w 3184894"/>
              <a:gd name="connsiteY2" fmla="*/ 2944742 h 2944742"/>
              <a:gd name="connsiteX3" fmla="*/ 794844 w 3184894"/>
              <a:gd name="connsiteY3" fmla="*/ 2944742 h 2944742"/>
              <a:gd name="connsiteX4" fmla="*/ 254869 w 3184894"/>
              <a:gd name="connsiteY4" fmla="*/ 2416383 h 2944742"/>
              <a:gd name="connsiteX5" fmla="*/ 6701 w 3184894"/>
              <a:gd name="connsiteY5" fmla="*/ 1829689 h 2944742"/>
              <a:gd name="connsiteX6" fmla="*/ 4 w 3184894"/>
              <a:gd name="connsiteY6" fmla="*/ 179932 h 2944742"/>
              <a:gd name="connsiteX7" fmla="*/ 107776 w 3184894"/>
              <a:gd name="connsiteY7" fmla="*/ 52 h 294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4894" h="2944742">
                <a:moveTo>
                  <a:pt x="107776" y="52"/>
                </a:moveTo>
                <a:cubicBezTo>
                  <a:pt x="147044" y="1318"/>
                  <a:pt x="194472" y="25982"/>
                  <a:pt x="245616" y="75939"/>
                </a:cubicBezTo>
                <a:lnTo>
                  <a:pt x="3184894" y="2944742"/>
                </a:lnTo>
                <a:lnTo>
                  <a:pt x="794844" y="2944742"/>
                </a:lnTo>
                <a:lnTo>
                  <a:pt x="254869" y="2416383"/>
                </a:lnTo>
                <a:cubicBezTo>
                  <a:pt x="118607" y="2283045"/>
                  <a:pt x="7553" y="2020383"/>
                  <a:pt x="6701" y="1829689"/>
                </a:cubicBezTo>
                <a:lnTo>
                  <a:pt x="4" y="179932"/>
                </a:lnTo>
                <a:cubicBezTo>
                  <a:pt x="-453" y="60824"/>
                  <a:pt x="42329" y="-2059"/>
                  <a:pt x="107776" y="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31" name="Picture Placeholder 130"/>
          <p:cNvSpPr>
            <a:spLocks noGrp="1"/>
          </p:cNvSpPr>
          <p:nvPr>
            <p:ph type="pic" sz="quarter" idx="26"/>
          </p:nvPr>
        </p:nvSpPr>
        <p:spPr>
          <a:xfrm>
            <a:off x="1306596" y="1829774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3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32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5231904" y="1217099"/>
            <a:ext cx="6336210" cy="502019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33" name="Title 6"/>
          <p:cNvSpPr>
            <a:spLocks noGrp="1"/>
          </p:cNvSpPr>
          <p:nvPr>
            <p:ph type="title"/>
          </p:nvPr>
        </p:nvSpPr>
        <p:spPr>
          <a:xfrm>
            <a:off x="5233206" y="332657"/>
            <a:ext cx="6323476" cy="746036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69" name="Text Placeholder 68"/>
          <p:cNvSpPr>
            <a:spLocks noGrp="1"/>
          </p:cNvSpPr>
          <p:nvPr>
            <p:ph type="body" sz="quarter" idx="24"/>
          </p:nvPr>
        </p:nvSpPr>
        <p:spPr>
          <a:xfrm>
            <a:off x="1" y="3596812"/>
            <a:ext cx="3340898" cy="3261189"/>
          </a:xfrm>
          <a:custGeom>
            <a:avLst/>
            <a:gdLst>
              <a:gd name="connsiteX0" fmla="*/ 0 w 2283321"/>
              <a:gd name="connsiteY0" fmla="*/ 0 h 2228844"/>
              <a:gd name="connsiteX1" fmla="*/ 2283321 w 2283321"/>
              <a:gd name="connsiteY1" fmla="*/ 2228844 h 2228844"/>
              <a:gd name="connsiteX2" fmla="*/ 0 w 2283321"/>
              <a:gd name="connsiteY2" fmla="*/ 2228844 h 222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83321" h="2228844">
                <a:moveTo>
                  <a:pt x="0" y="0"/>
                </a:moveTo>
                <a:lnTo>
                  <a:pt x="2283321" y="2228844"/>
                </a:lnTo>
                <a:lnTo>
                  <a:pt x="0" y="2228844"/>
                </a:lnTo>
                <a:close/>
              </a:path>
            </a:pathLst>
          </a:custGeom>
          <a:solidFill>
            <a:srgbClr val="005191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2" name="Picture Placeholder 51"/>
          <p:cNvSpPr>
            <a:spLocks noGrp="1"/>
          </p:cNvSpPr>
          <p:nvPr>
            <p:ph type="pic" sz="quarter" idx="17"/>
          </p:nvPr>
        </p:nvSpPr>
        <p:spPr>
          <a:xfrm>
            <a:off x="1" y="292099"/>
            <a:ext cx="2248981" cy="4369630"/>
          </a:xfrm>
          <a:custGeom>
            <a:avLst/>
            <a:gdLst>
              <a:gd name="connsiteX0" fmla="*/ 2140214 w 2248981"/>
              <a:gd name="connsiteY0" fmla="*/ 56 h 4369630"/>
              <a:gd name="connsiteX1" fmla="*/ 2248981 w 2248981"/>
              <a:gd name="connsiteY1" fmla="*/ 179856 h 4369630"/>
              <a:gd name="connsiteX2" fmla="*/ 2248981 w 2248981"/>
              <a:gd name="connsiteY2" fmla="*/ 1829126 h 4369630"/>
              <a:gd name="connsiteX3" fmla="*/ 2001907 w 2248981"/>
              <a:gd name="connsiteY3" fmla="*/ 2415334 h 4369630"/>
              <a:gd name="connsiteX4" fmla="*/ 0 w 2248981"/>
              <a:gd name="connsiteY4" fmla="*/ 4369630 h 4369630"/>
              <a:gd name="connsiteX5" fmla="*/ 0 w 2248981"/>
              <a:gd name="connsiteY5" fmla="*/ 2035309 h 4369630"/>
              <a:gd name="connsiteX6" fmla="*/ 2002273 w 2248981"/>
              <a:gd name="connsiteY6" fmla="*/ 76107 h 4369630"/>
              <a:gd name="connsiteX7" fmla="*/ 2140214 w 2248981"/>
              <a:gd name="connsiteY7" fmla="*/ 56 h 436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981" h="4369630">
                <a:moveTo>
                  <a:pt x="2140214" y="56"/>
                </a:moveTo>
                <a:cubicBezTo>
                  <a:pt x="2205838" y="-2145"/>
                  <a:pt x="2248981" y="60672"/>
                  <a:pt x="2248981" y="179856"/>
                </a:cubicBezTo>
                <a:lnTo>
                  <a:pt x="2248981" y="1829126"/>
                </a:lnTo>
                <a:cubicBezTo>
                  <a:pt x="2248981" y="2019699"/>
                  <a:pt x="2138290" y="2282238"/>
                  <a:pt x="2001907" y="2415334"/>
                </a:cubicBezTo>
                <a:lnTo>
                  <a:pt x="0" y="4369630"/>
                </a:lnTo>
                <a:lnTo>
                  <a:pt x="0" y="2035309"/>
                </a:lnTo>
                <a:lnTo>
                  <a:pt x="2002273" y="76107"/>
                </a:lnTo>
                <a:cubicBezTo>
                  <a:pt x="2053371" y="26104"/>
                  <a:pt x="2100839" y="1377"/>
                  <a:pt x="2140214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93712578-A808-456B-A6A5-B2685B750AD7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fld id="{BCFC9444-2B28-4561-8C1D-D8B1AE3B8688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24109396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Text Placeholder 122"/>
          <p:cNvSpPr>
            <a:spLocks noGrp="1"/>
          </p:cNvSpPr>
          <p:nvPr>
            <p:ph type="body" sz="quarter" idx="14"/>
          </p:nvPr>
        </p:nvSpPr>
        <p:spPr>
          <a:xfrm>
            <a:off x="5967288" y="0"/>
            <a:ext cx="6224712" cy="6858000"/>
          </a:xfrm>
          <a:custGeom>
            <a:avLst/>
            <a:gdLst>
              <a:gd name="connsiteX0" fmla="*/ 4864803 w 6224712"/>
              <a:gd name="connsiteY0" fmla="*/ 0 h 6858000"/>
              <a:gd name="connsiteX1" fmla="*/ 6224712 w 6224712"/>
              <a:gd name="connsiteY1" fmla="*/ 0 h 6858000"/>
              <a:gd name="connsiteX2" fmla="*/ 6224712 w 6224712"/>
              <a:gd name="connsiteY2" fmla="*/ 4020623 h 6858000"/>
              <a:gd name="connsiteX3" fmla="*/ 3271778 w 6224712"/>
              <a:gd name="connsiteY3" fmla="*/ 6858000 h 6858000"/>
              <a:gd name="connsiteX4" fmla="*/ 0 w 6224712"/>
              <a:gd name="connsiteY4" fmla="*/ 6858000 h 6858000"/>
              <a:gd name="connsiteX5" fmla="*/ 5547 w 6224712"/>
              <a:gd name="connsiteY5" fmla="*/ 5465306 h 6858000"/>
              <a:gd name="connsiteX6" fmla="*/ 575750 w 6224712"/>
              <a:gd name="connsiteY6" fmla="*/ 41323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4712" h="6858000">
                <a:moveTo>
                  <a:pt x="4864803" y="0"/>
                </a:moveTo>
                <a:lnTo>
                  <a:pt x="6224712" y="0"/>
                </a:lnTo>
                <a:lnTo>
                  <a:pt x="6224712" y="4020623"/>
                </a:lnTo>
                <a:lnTo>
                  <a:pt x="3271778" y="6858000"/>
                </a:lnTo>
                <a:lnTo>
                  <a:pt x="0" y="6858000"/>
                </a:lnTo>
                <a:lnTo>
                  <a:pt x="5547" y="5465306"/>
                </a:lnTo>
                <a:cubicBezTo>
                  <a:pt x="5547" y="5030428"/>
                  <a:pt x="262832" y="4434003"/>
                  <a:pt x="575750" y="4132325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8164444" y="485524"/>
            <a:ext cx="3406083" cy="5160295"/>
          </a:xfrm>
          <a:custGeom>
            <a:avLst/>
            <a:gdLst>
              <a:gd name="connsiteX0" fmla="*/ 3303314 w 3406083"/>
              <a:gd name="connsiteY0" fmla="*/ 31 h 5160295"/>
              <a:gd name="connsiteX1" fmla="*/ 3406083 w 3406083"/>
              <a:gd name="connsiteY1" fmla="*/ 169464 h 5160295"/>
              <a:gd name="connsiteX2" fmla="*/ 3406083 w 3406083"/>
              <a:gd name="connsiteY2" fmla="*/ 1716618 h 5160295"/>
              <a:gd name="connsiteX3" fmla="*/ 3172646 w 3406083"/>
              <a:gd name="connsiteY3" fmla="*/ 2264681 h 5160295"/>
              <a:gd name="connsiteX4" fmla="*/ 232119 w 3406083"/>
              <a:gd name="connsiteY4" fmla="*/ 5090137 h 5160295"/>
              <a:gd name="connsiteX5" fmla="*/ 4 w 3406083"/>
              <a:gd name="connsiteY5" fmla="*/ 4990687 h 5160295"/>
              <a:gd name="connsiteX6" fmla="*/ 6166 w 3406083"/>
              <a:gd name="connsiteY6" fmla="*/ 3443528 h 5160295"/>
              <a:gd name="connsiteX7" fmla="*/ 240700 w 3406083"/>
              <a:gd name="connsiteY7" fmla="*/ 2895251 h 5160295"/>
              <a:gd name="connsiteX8" fmla="*/ 3172865 w 3406083"/>
              <a:gd name="connsiteY8" fmla="*/ 70233 h 5160295"/>
              <a:gd name="connsiteX9" fmla="*/ 3303314 w 3406083"/>
              <a:gd name="connsiteY9" fmla="*/ 31 h 516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6083" h="5160295">
                <a:moveTo>
                  <a:pt x="3303314" y="31"/>
                </a:moveTo>
                <a:cubicBezTo>
                  <a:pt x="3365344" y="-1533"/>
                  <a:pt x="3406083" y="57665"/>
                  <a:pt x="3406083" y="169464"/>
                </a:cubicBezTo>
                <a:lnTo>
                  <a:pt x="3406083" y="1716618"/>
                </a:lnTo>
                <a:cubicBezTo>
                  <a:pt x="3406083" y="1895495"/>
                  <a:pt x="3301573" y="2140810"/>
                  <a:pt x="3172646" y="2264681"/>
                </a:cubicBezTo>
                <a:lnTo>
                  <a:pt x="232119" y="5090137"/>
                </a:lnTo>
                <a:cubicBezTo>
                  <a:pt x="103193" y="5214003"/>
                  <a:pt x="-657" y="5169560"/>
                  <a:pt x="4" y="4990687"/>
                </a:cubicBezTo>
                <a:lnTo>
                  <a:pt x="6166" y="3443528"/>
                </a:lnTo>
                <a:cubicBezTo>
                  <a:pt x="6166" y="3264656"/>
                  <a:pt x="111992" y="3019336"/>
                  <a:pt x="240700" y="2895251"/>
                </a:cubicBezTo>
                <a:lnTo>
                  <a:pt x="3172865" y="70233"/>
                </a:lnTo>
                <a:cubicBezTo>
                  <a:pt x="3221213" y="23783"/>
                  <a:pt x="3266096" y="970"/>
                  <a:pt x="3303314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2"/>
          </p:nvPr>
        </p:nvSpPr>
        <p:spPr>
          <a:xfrm>
            <a:off x="10491370" y="2460289"/>
            <a:ext cx="1700630" cy="3671626"/>
          </a:xfrm>
          <a:custGeom>
            <a:avLst/>
            <a:gdLst>
              <a:gd name="connsiteX0" fmla="*/ 1700630 w 1700630"/>
              <a:gd name="connsiteY0" fmla="*/ 0 h 3671626"/>
              <a:gd name="connsiteX1" fmla="*/ 1700630 w 1700630"/>
              <a:gd name="connsiteY1" fmla="*/ 2190424 h 3671626"/>
              <a:gd name="connsiteX2" fmla="*/ 232119 w 1700630"/>
              <a:gd name="connsiteY2" fmla="*/ 3601468 h 3671626"/>
              <a:gd name="connsiteX3" fmla="*/ 4 w 1700630"/>
              <a:gd name="connsiteY3" fmla="*/ 3502018 h 3671626"/>
              <a:gd name="connsiteX4" fmla="*/ 6166 w 1700630"/>
              <a:gd name="connsiteY4" fmla="*/ 1954859 h 3671626"/>
              <a:gd name="connsiteX5" fmla="*/ 240700 w 1700630"/>
              <a:gd name="connsiteY5" fmla="*/ 1406582 h 367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00630" h="3671626">
                <a:moveTo>
                  <a:pt x="1700630" y="0"/>
                </a:moveTo>
                <a:lnTo>
                  <a:pt x="1700630" y="2190424"/>
                </a:lnTo>
                <a:lnTo>
                  <a:pt x="232119" y="3601468"/>
                </a:lnTo>
                <a:cubicBezTo>
                  <a:pt x="103193" y="3725334"/>
                  <a:pt x="-657" y="3680891"/>
                  <a:pt x="4" y="3502018"/>
                </a:cubicBezTo>
                <a:lnTo>
                  <a:pt x="6166" y="1954859"/>
                </a:lnTo>
                <a:cubicBezTo>
                  <a:pt x="6166" y="1775987"/>
                  <a:pt x="111992" y="1530667"/>
                  <a:pt x="240700" y="140658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21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638631" y="1764973"/>
            <a:ext cx="7085111" cy="447231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22" name="Title 6"/>
          <p:cNvSpPr>
            <a:spLocks noGrp="1"/>
          </p:cNvSpPr>
          <p:nvPr>
            <p:ph type="title"/>
          </p:nvPr>
        </p:nvSpPr>
        <p:spPr>
          <a:xfrm>
            <a:off x="639066" y="332657"/>
            <a:ext cx="8121230" cy="126248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126" name="Text Placeholder 125"/>
          <p:cNvSpPr>
            <a:spLocks noGrp="1"/>
          </p:cNvSpPr>
          <p:nvPr>
            <p:ph type="body" sz="quarter" idx="15"/>
          </p:nvPr>
        </p:nvSpPr>
        <p:spPr>
          <a:xfrm>
            <a:off x="9251122" y="3675471"/>
            <a:ext cx="2940879" cy="3182529"/>
          </a:xfrm>
          <a:custGeom>
            <a:avLst/>
            <a:gdLst>
              <a:gd name="connsiteX0" fmla="*/ 107145 w 2940879"/>
              <a:gd name="connsiteY0" fmla="*/ 32 h 3182529"/>
              <a:gd name="connsiteX1" fmla="*/ 243149 w 2940879"/>
              <a:gd name="connsiteY1" fmla="*/ 73223 h 3182529"/>
              <a:gd name="connsiteX2" fmla="*/ 2940879 w 2940879"/>
              <a:gd name="connsiteY2" fmla="*/ 2672374 h 3182529"/>
              <a:gd name="connsiteX3" fmla="*/ 2940879 w 2940879"/>
              <a:gd name="connsiteY3" fmla="*/ 3182529 h 3182529"/>
              <a:gd name="connsiteX4" fmla="*/ 1098241 w 2940879"/>
              <a:gd name="connsiteY4" fmla="*/ 3182529 h 3182529"/>
              <a:gd name="connsiteX5" fmla="*/ 243376 w 2940879"/>
              <a:gd name="connsiteY5" fmla="*/ 2361118 h 3182529"/>
              <a:gd name="connsiteX6" fmla="*/ 0 w 2940879"/>
              <a:gd name="connsiteY6" fmla="*/ 1789717 h 3182529"/>
              <a:gd name="connsiteX7" fmla="*/ 0 w 2940879"/>
              <a:gd name="connsiteY7" fmla="*/ 176679 h 3182529"/>
              <a:gd name="connsiteX8" fmla="*/ 107145 w 2940879"/>
              <a:gd name="connsiteY8" fmla="*/ 32 h 3182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40879" h="3182529">
                <a:moveTo>
                  <a:pt x="107145" y="32"/>
                </a:moveTo>
                <a:cubicBezTo>
                  <a:pt x="145948" y="1011"/>
                  <a:pt x="192743" y="24795"/>
                  <a:pt x="243149" y="73223"/>
                </a:cubicBezTo>
                <a:lnTo>
                  <a:pt x="2940879" y="2672374"/>
                </a:lnTo>
                <a:lnTo>
                  <a:pt x="2940879" y="3182529"/>
                </a:lnTo>
                <a:lnTo>
                  <a:pt x="1098241" y="3182529"/>
                </a:lnTo>
                <a:lnTo>
                  <a:pt x="243376" y="2361118"/>
                </a:lnTo>
                <a:cubicBezTo>
                  <a:pt x="108960" y="2231972"/>
                  <a:pt x="0" y="1976211"/>
                  <a:pt x="0" y="1789717"/>
                </a:cubicBezTo>
                <a:lnTo>
                  <a:pt x="0" y="176679"/>
                </a:lnTo>
                <a:cubicBezTo>
                  <a:pt x="0" y="60120"/>
                  <a:pt x="42474" y="-1599"/>
                  <a:pt x="107145" y="32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2pPr algn="ctr">
              <a:defRPr sz="100">
                <a:solidFill>
                  <a:schemeClr val="tx2">
                    <a:alpha val="0"/>
                  </a:schemeClr>
                </a:solidFill>
              </a:defRPr>
            </a:lvl2pPr>
            <a:lvl3pPr algn="ctr">
              <a:defRPr sz="100">
                <a:solidFill>
                  <a:schemeClr val="tx2">
                    <a:alpha val="0"/>
                  </a:schemeClr>
                </a:solidFill>
              </a:defRPr>
            </a:lvl3pPr>
            <a:lvl4pPr algn="ctr">
              <a:defRPr sz="100">
                <a:solidFill>
                  <a:schemeClr val="tx2">
                    <a:alpha val="0"/>
                  </a:schemeClr>
                </a:solidFill>
              </a:defRPr>
            </a:lvl4pPr>
            <a:lvl5pPr algn="ctr">
              <a:defRPr sz="100">
                <a:solidFill>
                  <a:schemeClr val="tx2">
                    <a:alpha val="0"/>
                  </a:schemeClr>
                </a:solidFill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7E730509-B02B-4D4B-B73D-98CAEE015DA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2413E13F-3596-41F7-90A6-7A95A7D2611C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824596800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E9473D">
              <a:alpha val="4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0" name="Text Placeholder 129"/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1" name="Text Placeholder 130"/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chemeClr val="accent6">
              <a:alpha val="10000"/>
            </a:scheme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28" name="Title 6"/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13"/>
          </p:nvPr>
        </p:nvSpPr>
        <p:spPr>
          <a:xfrm>
            <a:off x="0" y="3468316"/>
            <a:ext cx="2304114" cy="3389685"/>
          </a:xfrm>
          <a:custGeom>
            <a:avLst/>
            <a:gdLst>
              <a:gd name="connsiteX0" fmla="*/ 0 w 2304114"/>
              <a:gd name="connsiteY0" fmla="*/ 0 h 3389685"/>
              <a:gd name="connsiteX1" fmla="*/ 2098668 w 2304114"/>
              <a:gd name="connsiteY1" fmla="*/ 2021980 h 3389685"/>
              <a:gd name="connsiteX2" fmla="*/ 2300546 w 2304114"/>
              <a:gd name="connsiteY2" fmla="*/ 2493915 h 3389685"/>
              <a:gd name="connsiteX3" fmla="*/ 2304114 w 2304114"/>
              <a:gd name="connsiteY3" fmla="*/ 3389685 h 3389685"/>
              <a:gd name="connsiteX4" fmla="*/ 1563249 w 2304114"/>
              <a:gd name="connsiteY4" fmla="*/ 3389685 h 3389685"/>
              <a:gd name="connsiteX5" fmla="*/ 0 w 2304114"/>
              <a:gd name="connsiteY5" fmla="*/ 1887611 h 3389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4114" h="3389685">
                <a:moveTo>
                  <a:pt x="0" y="0"/>
                </a:moveTo>
                <a:lnTo>
                  <a:pt x="2098668" y="2021980"/>
                </a:lnTo>
                <a:cubicBezTo>
                  <a:pt x="2209455" y="2128787"/>
                  <a:pt x="2300546" y="2339949"/>
                  <a:pt x="2300546" y="2493915"/>
                </a:cubicBezTo>
                <a:lnTo>
                  <a:pt x="2304114" y="3389685"/>
                </a:lnTo>
                <a:lnTo>
                  <a:pt x="1563249" y="3389685"/>
                </a:lnTo>
                <a:lnTo>
                  <a:pt x="0" y="188761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30B440CC-1078-44CC-B95B-36E5F657080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EAEEEEA9-6EBF-4C10-AA4F-62A173DEE718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527013810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7E003F">
              <a:alpha val="3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rtlCol="0" anchor="ctr">
            <a:noAutofit/>
          </a:bodyPr>
          <a:lstStyle>
            <a:lvl1pPr algn="ctr">
              <a:defRPr sz="1200" b="0"/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130" name="Text Placeholder 129"/>
          <p:cNvSpPr>
            <a:spLocks noGrp="1"/>
          </p:cNvSpPr>
          <p:nvPr>
            <p:ph type="body" sz="quarter" idx="16"/>
          </p:nvPr>
        </p:nvSpPr>
        <p:spPr>
          <a:xfrm flipV="1">
            <a:off x="0" y="4116164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1" name="Text Placeholder 130"/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rgbClr val="F07E26">
              <a:alpha val="10000"/>
            </a:srgbClr>
          </a:solidFill>
        </p:spPr>
        <p:txBody>
          <a:bodyPr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2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28" name="Title 6"/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rtlCol="0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ru-RU" noProof="0"/>
              <a:t>Вставка рисунка</a:t>
            </a:r>
            <a:endParaRPr lang="en-GB" noProof="0"/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F545EACF-685F-463C-A093-231AF0B1A6F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5D1F9796-422F-423A-A497-3072C4B14441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725073629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>
            <a:extLst>
              <a:ext uri="{FF2B5EF4-FFF2-40B4-BE49-F238E27FC236}">
                <a16:creationId xmlns:a16="http://schemas.microsoft.com/office/drawing/2014/main" id="{D8E33BDD-C626-4DB1-A18F-9E7EA450C0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88" y="5627688"/>
            <a:ext cx="10795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463EB50C-CCE1-46A6-A53E-4C96CCF103B3}"/>
              </a:ext>
            </a:extLst>
          </p:cNvPr>
          <p:cNvPicPr>
            <a:picLocks noChangeAspect="1"/>
          </p:cNvPicPr>
          <p:nvPr/>
        </p:nvPicPr>
        <p:blipFill>
          <a:blip r:embed="rId3" cstate="hqprint"/>
          <a:stretch>
            <a:fillRect/>
          </a:stretch>
        </p:blipFill>
        <p:spPr>
          <a:xfrm>
            <a:off x="-8202613" y="2178050"/>
            <a:ext cx="415925" cy="250825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1718575-3474-46A4-BF67-372A7E27AB76}"/>
              </a:ext>
            </a:extLst>
          </p:cNvPr>
          <p:cNvSpPr txBox="1">
            <a:spLocks/>
          </p:cNvSpPr>
          <p:nvPr/>
        </p:nvSpPr>
        <p:spPr>
          <a:xfrm>
            <a:off x="766763" y="6364288"/>
            <a:ext cx="2463800" cy="225425"/>
          </a:xfrm>
          <a:prstGeom prst="rect">
            <a:avLst/>
          </a:prstGeom>
        </p:spPr>
        <p:txBody>
          <a:bodyPr lIns="0" tIns="0" rIns="0" bIns="0" anchor="ctr">
            <a:normAutofit fontScale="55000" lnSpcReduction="2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600" b="0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GB"/>
              <a:t>This project is financed by the European Union</a:t>
            </a:r>
          </a:p>
        </p:txBody>
      </p:sp>
      <p:pic>
        <p:nvPicPr>
          <p:cNvPr id="7" name="Graphic 7">
            <a:extLst>
              <a:ext uri="{FF2B5EF4-FFF2-40B4-BE49-F238E27FC236}">
                <a16:creationId xmlns:a16="http://schemas.microsoft.com/office/drawing/2014/main" id="{8FEE2B20-D6BD-4436-844A-23C921969553}"/>
              </a:ext>
            </a:extLst>
          </p:cNvPr>
          <p:cNvPicPr>
            <a:picLocks noChangeAspect="1"/>
          </p:cNvPicPr>
          <p:nvPr/>
        </p:nvPicPr>
        <p:blipFill>
          <a:blip r:embed="rId4" cstate="hqprint"/>
          <a:stretch>
            <a:fillRect/>
          </a:stretch>
        </p:blipFill>
        <p:spPr>
          <a:xfrm>
            <a:off x="407988" y="6340475"/>
            <a:ext cx="306387" cy="204788"/>
          </a:xfrm>
          <a:prstGeom prst="rect">
            <a:avLst/>
          </a:prstGeom>
        </p:spPr>
      </p:pic>
      <p:pic>
        <p:nvPicPr>
          <p:cNvPr id="8" name="Graphic 9">
            <a:extLst>
              <a:ext uri="{FF2B5EF4-FFF2-40B4-BE49-F238E27FC236}">
                <a16:creationId xmlns:a16="http://schemas.microsoft.com/office/drawing/2014/main" id="{7E12092A-300F-474B-8A1C-A57F6C248047}"/>
              </a:ext>
            </a:extLst>
          </p:cNvPr>
          <p:cNvPicPr>
            <a:picLocks noChangeAspect="1"/>
          </p:cNvPicPr>
          <p:nvPr/>
        </p:nvPicPr>
        <p:blipFill>
          <a:blip r:embed="rId3" cstate="hqprint"/>
          <a:stretch>
            <a:fillRect/>
          </a:stretch>
        </p:blipFill>
        <p:spPr>
          <a:xfrm>
            <a:off x="407988" y="317500"/>
            <a:ext cx="1147762" cy="693738"/>
          </a:xfrm>
          <a:prstGeom prst="rect">
            <a:avLst/>
          </a:prstGeom>
        </p:spPr>
      </p:pic>
      <p:sp>
        <p:nvSpPr>
          <p:cNvPr id="121" name="Text Placeholder 16"/>
          <p:cNvSpPr>
            <a:spLocks noGrp="1"/>
          </p:cNvSpPr>
          <p:nvPr>
            <p:ph type="body" sz="quarter" idx="13"/>
          </p:nvPr>
        </p:nvSpPr>
        <p:spPr>
          <a:xfrm>
            <a:off x="638631" y="2306698"/>
            <a:ext cx="10713953" cy="393059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/>
          </a:p>
        </p:txBody>
      </p:sp>
      <p:sp>
        <p:nvSpPr>
          <p:cNvPr id="122" name="Title 6"/>
          <p:cNvSpPr>
            <a:spLocks noGrp="1"/>
          </p:cNvSpPr>
          <p:nvPr>
            <p:ph type="title"/>
          </p:nvPr>
        </p:nvSpPr>
        <p:spPr>
          <a:xfrm>
            <a:off x="638630" y="1230238"/>
            <a:ext cx="10713953" cy="83264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GB"/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61A3DCA7-6EC4-4BCB-8F94-7CD54D88DCC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83473A01-46C2-4F15-80FC-EB7A7E39613C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59334041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B2940113-D497-40D1-8E96-4E9F64ECC2F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612775" y="333375"/>
            <a:ext cx="10944225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  <a:endParaRPr lang="en-US" altLang="ru-RU"/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C51DDE40-73BA-47C2-84D0-EBDB9B1FA60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623888" y="1628775"/>
            <a:ext cx="10933112" cy="4608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  <a:endParaRPr lang="en-US" alt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C148D6-41BD-4184-9943-658F8CA64A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775" y="6364288"/>
            <a:ext cx="287338" cy="293687"/>
          </a:xfrm>
          <a:prstGeom prst="rect">
            <a:avLst/>
          </a:prstGeom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900">
                <a:cs typeface="Arial" panose="020B0604020202020204" pitchFamily="34" charset="0"/>
              </a:defRPr>
            </a:lvl1pPr>
          </a:lstStyle>
          <a:p>
            <a:fld id="{FA189AF2-F98E-4B2A-B85F-B62B148AF357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custDataLst>
      <p:tags r:id="rId29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4033" r:id="rId2"/>
    <p:sldLayoutId id="2147484034" r:id="rId3"/>
    <p:sldLayoutId id="2147484035" r:id="rId4"/>
    <p:sldLayoutId id="2147484036" r:id="rId5"/>
    <p:sldLayoutId id="2147484037" r:id="rId6"/>
    <p:sldLayoutId id="2147484038" r:id="rId7"/>
    <p:sldLayoutId id="2147484039" r:id="rId8"/>
    <p:sldLayoutId id="2147484040" r:id="rId9"/>
    <p:sldLayoutId id="2147484041" r:id="rId10"/>
    <p:sldLayoutId id="2147484042" r:id="rId11"/>
    <p:sldLayoutId id="2147484043" r:id="rId12"/>
    <p:sldLayoutId id="2147484044" r:id="rId13"/>
    <p:sldLayoutId id="2147484045" r:id="rId14"/>
    <p:sldLayoutId id="2147484046" r:id="rId15"/>
    <p:sldLayoutId id="2147484047" r:id="rId16"/>
    <p:sldLayoutId id="2147484048" r:id="rId17"/>
    <p:sldLayoutId id="2147484049" r:id="rId18"/>
    <p:sldLayoutId id="2147484050" r:id="rId19"/>
    <p:sldLayoutId id="2147484051" r:id="rId20"/>
    <p:sldLayoutId id="2147484052" r:id="rId21"/>
    <p:sldLayoutId id="2147484053" r:id="rId22"/>
    <p:sldLayoutId id="2147484054" r:id="rId23"/>
    <p:sldLayoutId id="2147484055" r:id="rId24"/>
    <p:sldLayoutId id="2147484056" r:id="rId25"/>
    <p:sldLayoutId id="2147484057" r:id="rId26"/>
    <p:sldLayoutId id="2147484058" r:id="rId27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600"/>
        </a:spcAft>
        <a:buFont typeface="Arial" panose="020B0604020202020204" pitchFamily="34" charset="0"/>
        <a:defRPr b="1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ts val="600"/>
        </a:spcAft>
        <a:buFont typeface="Arial" panose="020B0604020202020204" pitchFamily="34" charset="0"/>
        <a:defRPr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76213" indent="-176213" algn="l" rtl="0" eaLnBrk="1" fontAlgn="base" hangingPunct="1">
        <a:spcBef>
          <a:spcPct val="0"/>
        </a:spcBef>
        <a:spcAft>
          <a:spcPts val="60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52438" indent="-187325" algn="l" rtl="0" eaLnBrk="1" fontAlgn="base" hangingPunct="1">
        <a:spcBef>
          <a:spcPct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17550" indent="-176213" algn="l" rtl="0" eaLnBrk="1" fontAlgn="base" hangingPunct="1">
        <a:spcBef>
          <a:spcPct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15.jpeg"/><Relationship Id="rId7" Type="http://schemas.openxmlformats.org/officeDocument/2006/relationships/image" Target="../media/image19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png"/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jpeg"/><Relationship Id="rId10" Type="http://schemas.openxmlformats.org/officeDocument/2006/relationships/image" Target="../media/image27.png"/><Relationship Id="rId4" Type="http://schemas.openxmlformats.org/officeDocument/2006/relationships/image" Target="../media/image21.jpeg"/><Relationship Id="rId9" Type="http://schemas.openxmlformats.org/officeDocument/2006/relationships/image" Target="../media/image26.png"/><Relationship Id="rId14" Type="http://schemas.openxmlformats.org/officeDocument/2006/relationships/image" Target="../media/image31.png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13" Type="http://schemas.openxmlformats.org/officeDocument/2006/relationships/diagramData" Target="../diagrams/data2.xml"/><Relationship Id="rId18" Type="http://schemas.openxmlformats.org/officeDocument/2006/relationships/image" Target="../media/image37.jpeg"/><Relationship Id="rId3" Type="http://schemas.openxmlformats.org/officeDocument/2006/relationships/image" Target="../media/image32.png"/><Relationship Id="rId21" Type="http://schemas.openxmlformats.org/officeDocument/2006/relationships/image" Target="../media/image40.png"/><Relationship Id="rId7" Type="http://schemas.openxmlformats.org/officeDocument/2006/relationships/diagramColors" Target="../diagrams/colors1.xml"/><Relationship Id="rId12" Type="http://schemas.openxmlformats.org/officeDocument/2006/relationships/image" Target="../media/image36.png"/><Relationship Id="rId1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6" Type="http://schemas.openxmlformats.org/officeDocument/2006/relationships/diagramColors" Target="../diagrams/colors2.xml"/><Relationship Id="rId20" Type="http://schemas.openxmlformats.org/officeDocument/2006/relationships/image" Target="../media/image39.jpeg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.xml"/><Relationship Id="rId11" Type="http://schemas.openxmlformats.org/officeDocument/2006/relationships/image" Target="../media/image35.png"/><Relationship Id="rId5" Type="http://schemas.openxmlformats.org/officeDocument/2006/relationships/diagramLayout" Target="../diagrams/layout1.xml"/><Relationship Id="rId15" Type="http://schemas.openxmlformats.org/officeDocument/2006/relationships/diagramQuickStyle" Target="../diagrams/quickStyle2.xml"/><Relationship Id="rId10" Type="http://schemas.openxmlformats.org/officeDocument/2006/relationships/image" Target="../media/image34.png"/><Relationship Id="rId19" Type="http://schemas.openxmlformats.org/officeDocument/2006/relationships/image" Target="../media/image38.jpeg"/><Relationship Id="rId4" Type="http://schemas.openxmlformats.org/officeDocument/2006/relationships/diagramData" Target="../diagrams/data1.xml"/><Relationship Id="rId9" Type="http://schemas.openxmlformats.org/officeDocument/2006/relationships/image" Target="../media/image33.jpeg"/><Relationship Id="rId14" Type="http://schemas.openxmlformats.org/officeDocument/2006/relationships/diagramLayout" Target="../diagrams/layout2.xml"/><Relationship Id="rId22" Type="http://schemas.openxmlformats.org/officeDocument/2006/relationships/image" Target="../media/image4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Placeholder 39" descr="A picture containing text, rug&#10;&#10;Description automatically generated">
            <a:extLst>
              <a:ext uri="{FF2B5EF4-FFF2-40B4-BE49-F238E27FC236}">
                <a16:creationId xmlns:a16="http://schemas.microsoft.com/office/drawing/2014/main" id="{F714F580-CE3D-4511-96DC-B6456B44BF2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/>
          <a:srcRect/>
          <a:stretch>
            <a:fillRect/>
          </a:stretch>
        </p:blipFill>
        <p:spPr/>
      </p:pic>
      <p:sp>
        <p:nvSpPr>
          <p:cNvPr id="31747" name="Title 5">
            <a:extLst>
              <a:ext uri="{FF2B5EF4-FFF2-40B4-BE49-F238E27FC236}">
                <a16:creationId xmlns:a16="http://schemas.microsoft.com/office/drawing/2014/main" id="{A32A50B7-CDD7-4FB6-8FA6-E3048F3FFD7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7248525" y="5322888"/>
            <a:ext cx="4319588" cy="395287"/>
          </a:xfrm>
        </p:spPr>
        <p:txBody>
          <a:bodyPr/>
          <a:lstStyle/>
          <a:p>
            <a:r>
              <a:rPr lang="en-GB" altLang="ru-RU" dirty="0"/>
              <a:t>This project is financed by the European Unio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09DF5AD-B53F-43CA-869B-F12F6C1B15C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813" y="3930650"/>
            <a:ext cx="3168650" cy="2927350"/>
          </a:xfrm>
        </p:spPr>
        <p:txBody>
          <a:bodyPr rtlCol="0"/>
          <a:lstStyle/>
          <a:p>
            <a:pPr fontAlgn="auto">
              <a:spcBef>
                <a:spcPts val="0"/>
              </a:spcBef>
              <a:defRPr/>
            </a:pP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D932B9EE-104F-4C95-BA7C-BD1E9539201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91201" y="3930650"/>
            <a:ext cx="3168650" cy="2927350"/>
          </a:xfrm>
        </p:spPr>
        <p:txBody>
          <a:bodyPr rtlCol="0"/>
          <a:lstStyle/>
          <a:p>
            <a:pPr fontAlgn="auto">
              <a:spcBef>
                <a:spcPts val="0"/>
              </a:spcBef>
              <a:defRPr/>
            </a:pPr>
            <a:endParaRPr lang="en-GB" dirty="0"/>
          </a:p>
        </p:txBody>
      </p:sp>
      <p:pic>
        <p:nvPicPr>
          <p:cNvPr id="38" name="Picture Placeholder 37">
            <a:extLst>
              <a:ext uri="{FF2B5EF4-FFF2-40B4-BE49-F238E27FC236}">
                <a16:creationId xmlns:a16="http://schemas.microsoft.com/office/drawing/2014/main" id="{58FECD7D-9142-48F9-9991-69955E7919E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/>
          <a:srcRect l="19765" r="19765"/>
          <a:stretch/>
        </p:blipFill>
        <p:spPr/>
      </p:pic>
      <p:pic>
        <p:nvPicPr>
          <p:cNvPr id="48" name="Picture Placeholder 47" descr="A group of people sitting at a table talking&#10;&#10;Description automatically generated with low confidence">
            <a:extLst>
              <a:ext uri="{FF2B5EF4-FFF2-40B4-BE49-F238E27FC236}">
                <a16:creationId xmlns:a16="http://schemas.microsoft.com/office/drawing/2014/main" id="{E7FE18F6-A0AD-4AD1-B767-2F3A0DD65EE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4" cstate="print"/>
          <a:srcRect/>
          <a:stretch/>
        </p:blipFill>
        <p:spPr/>
      </p:pic>
      <p:pic>
        <p:nvPicPr>
          <p:cNvPr id="36" name="Picture Placeholder 35" descr="A picture containing person, crowd&#10;&#10;Description automatically generated">
            <a:extLst>
              <a:ext uri="{FF2B5EF4-FFF2-40B4-BE49-F238E27FC236}">
                <a16:creationId xmlns:a16="http://schemas.microsoft.com/office/drawing/2014/main" id="{79E12EFA-95A9-4F3D-840A-4435B75AAD4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5" cstate="print"/>
          <a:srcRect t="-1681"/>
          <a:stretch/>
        </p:blipFill>
        <p:spPr/>
      </p:pic>
      <p:sp>
        <p:nvSpPr>
          <p:cNvPr id="31754" name="TextBox 3">
            <a:extLst>
              <a:ext uri="{FF2B5EF4-FFF2-40B4-BE49-F238E27FC236}">
                <a16:creationId xmlns:a16="http://schemas.microsoft.com/office/drawing/2014/main" id="{6CA6B775-146F-4CB0-A992-A9B83C4F77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036800" y="11509375"/>
            <a:ext cx="1408113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uz-Cyrl-UZ" altLang="ru-RU" sz="1100" b="1"/>
              <a:t>Профессионал таълим битирувчиларининг бандлигини таъминлаш жараёнлари</a:t>
            </a:r>
            <a:endParaRPr lang="en-GB" altLang="ru-RU" sz="1100" b="1"/>
          </a:p>
        </p:txBody>
      </p:sp>
      <p:pic>
        <p:nvPicPr>
          <p:cNvPr id="31755" name="Рисунок 1">
            <a:extLst>
              <a:ext uri="{FF2B5EF4-FFF2-40B4-BE49-F238E27FC236}">
                <a16:creationId xmlns:a16="http://schemas.microsoft.com/office/drawing/2014/main" id="{A1309625-8F46-4A24-BD1D-9B6CF3AD05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0175" y="50800"/>
            <a:ext cx="1244600" cy="124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756" name="Rectangle 4">
            <a:extLst>
              <a:ext uri="{FF2B5EF4-FFF2-40B4-BE49-F238E27FC236}">
                <a16:creationId xmlns:a16="http://schemas.microsoft.com/office/drawing/2014/main" id="{EBFEAAC4-C74A-43FB-955B-779415B439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12489" y="5670550"/>
            <a:ext cx="4522788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600" b="1" dirty="0"/>
              <a:t>Процессы обеспечения трудоустройства выпускников профессионального образования в Республике Узбекистан</a:t>
            </a:r>
          </a:p>
        </p:txBody>
      </p:sp>
      <p:sp>
        <p:nvSpPr>
          <p:cNvPr id="13" name="Rectangle 4">
            <a:extLst>
              <a:ext uri="{FF2B5EF4-FFF2-40B4-BE49-F238E27FC236}">
                <a16:creationId xmlns:a16="http://schemas.microsoft.com/office/drawing/2014/main" id="{EBFEAAC4-C74A-43FB-955B-779415B439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01324" y="6519446"/>
            <a:ext cx="16668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600" i="1" dirty="0" err="1" smtClean="0"/>
              <a:t>А.Мелибаев</a:t>
            </a:r>
            <a:endParaRPr lang="ru-RU" altLang="ru-RU" sz="1600" i="1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Прямоугольник 132">
            <a:extLst>
              <a:ext uri="{FF2B5EF4-FFF2-40B4-BE49-F238E27FC236}">
                <a16:creationId xmlns:a16="http://schemas.microsoft.com/office/drawing/2014/main" id="{E50DDE9F-6A60-4BAD-8510-0D2FA4494617}"/>
              </a:ext>
            </a:extLst>
          </p:cNvPr>
          <p:cNvSpPr/>
          <p:nvPr/>
        </p:nvSpPr>
        <p:spPr>
          <a:xfrm>
            <a:off x="4686300" y="889000"/>
            <a:ext cx="3932238" cy="2168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 eaLnBrk="1" fontAlgn="auto" hangingPunct="1">
              <a:spcAft>
                <a:spcPts val="0"/>
              </a:spcAft>
              <a:defRPr/>
            </a:pPr>
            <a:endParaRPr lang="ru-RU" sz="1300" b="1" dirty="0">
              <a:solidFill>
                <a:srgbClr val="FFC000"/>
              </a:solidFill>
              <a:cs typeface="Arial" panose="020B0604020202020204" pitchFamily="34" charset="0"/>
            </a:endParaRPr>
          </a:p>
        </p:txBody>
      </p:sp>
      <p:sp>
        <p:nvSpPr>
          <p:cNvPr id="170" name="Прямоугольник 169">
            <a:extLst>
              <a:ext uri="{FF2B5EF4-FFF2-40B4-BE49-F238E27FC236}">
                <a16:creationId xmlns:a16="http://schemas.microsoft.com/office/drawing/2014/main" id="{77E7DB18-C147-494E-A6CF-80A008A531B1}"/>
              </a:ext>
            </a:extLst>
          </p:cNvPr>
          <p:cNvSpPr/>
          <p:nvPr/>
        </p:nvSpPr>
        <p:spPr>
          <a:xfrm>
            <a:off x="427038" y="3201988"/>
            <a:ext cx="3897312" cy="35194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 eaLnBrk="1" fontAlgn="auto" hangingPunct="1">
              <a:spcAft>
                <a:spcPts val="0"/>
              </a:spcAft>
              <a:defRPr/>
            </a:pPr>
            <a:endParaRPr lang="ru-RU" sz="1300" b="1" dirty="0">
              <a:solidFill>
                <a:srgbClr val="FFC000"/>
              </a:solidFill>
              <a:cs typeface="Arial" panose="020B0604020202020204" pitchFamily="34" charset="0"/>
            </a:endParaRPr>
          </a:p>
        </p:txBody>
      </p:sp>
      <p:sp>
        <p:nvSpPr>
          <p:cNvPr id="75" name="Прямоугольник 74">
            <a:extLst>
              <a:ext uri="{FF2B5EF4-FFF2-40B4-BE49-F238E27FC236}">
                <a16:creationId xmlns:a16="http://schemas.microsoft.com/office/drawing/2014/main" id="{0DC1F964-6867-4D0F-B6F9-25954FF32913}"/>
              </a:ext>
            </a:extLst>
          </p:cNvPr>
          <p:cNvSpPr/>
          <p:nvPr/>
        </p:nvSpPr>
        <p:spPr>
          <a:xfrm>
            <a:off x="392113" y="889000"/>
            <a:ext cx="3932237" cy="2168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 eaLnBrk="1" fontAlgn="auto" hangingPunct="1">
              <a:spcAft>
                <a:spcPts val="0"/>
              </a:spcAft>
              <a:defRPr/>
            </a:pPr>
            <a:endParaRPr lang="ru-RU" sz="1300" b="1" dirty="0">
              <a:solidFill>
                <a:srgbClr val="FFC000"/>
              </a:solidFill>
              <a:cs typeface="Arial" panose="020B0604020202020204" pitchFamily="34" charset="0"/>
            </a:endParaRPr>
          </a:p>
        </p:txBody>
      </p:sp>
      <p:grpSp>
        <p:nvGrpSpPr>
          <p:cNvPr id="125" name="Группа 124">
            <a:extLst>
              <a:ext uri="{FF2B5EF4-FFF2-40B4-BE49-F238E27FC236}">
                <a16:creationId xmlns:a16="http://schemas.microsoft.com/office/drawing/2014/main" id="{5603F7E8-6BB6-4F77-B63F-464B9886AAE1}"/>
              </a:ext>
            </a:extLst>
          </p:cNvPr>
          <p:cNvGrpSpPr>
            <a:grpSpLocks/>
          </p:cNvGrpSpPr>
          <p:nvPr/>
        </p:nvGrpSpPr>
        <p:grpSpPr bwMode="auto">
          <a:xfrm>
            <a:off x="2884488" y="1639888"/>
            <a:ext cx="1192212" cy="1196975"/>
            <a:chOff x="1125413" y="2852223"/>
            <a:chExt cx="3240000" cy="3254068"/>
          </a:xfrm>
        </p:grpSpPr>
        <p:sp>
          <p:nvSpPr>
            <p:cNvPr id="126" name="Круг: прозрачная заливка 18">
              <a:extLst>
                <a:ext uri="{FF2B5EF4-FFF2-40B4-BE49-F238E27FC236}">
                  <a16:creationId xmlns:a16="http://schemas.microsoft.com/office/drawing/2014/main" id="{CB02186C-8BE6-44D8-A660-2B272455EFF6}"/>
                </a:ext>
              </a:extLst>
            </p:cNvPr>
            <p:cNvSpPr/>
            <p:nvPr/>
          </p:nvSpPr>
          <p:spPr>
            <a:xfrm>
              <a:off x="1125413" y="2852223"/>
              <a:ext cx="3240000" cy="3241119"/>
            </a:xfrm>
            <a:prstGeom prst="donut">
              <a:avLst>
                <a:gd name="adj" fmla="val 1095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27" name="Полилиния: фигура 19">
              <a:extLst>
                <a:ext uri="{FF2B5EF4-FFF2-40B4-BE49-F238E27FC236}">
                  <a16:creationId xmlns:a16="http://schemas.microsoft.com/office/drawing/2014/main" id="{836BD02D-F0CC-4DB9-835E-86A426787A8B}"/>
                </a:ext>
              </a:extLst>
            </p:cNvPr>
            <p:cNvSpPr/>
            <p:nvPr/>
          </p:nvSpPr>
          <p:spPr>
            <a:xfrm>
              <a:off x="1125413" y="4457678"/>
              <a:ext cx="3240000" cy="1648613"/>
            </a:xfrm>
            <a:custGeom>
              <a:avLst/>
              <a:gdLst>
                <a:gd name="connsiteX0" fmla="*/ 1421 w 3240000"/>
                <a:gd name="connsiteY0" fmla="*/ 0 h 1648136"/>
                <a:gd name="connsiteX1" fmla="*/ 356395 w 3240000"/>
                <a:gd name="connsiteY1" fmla="*/ 0 h 1648136"/>
                <a:gd name="connsiteX2" fmla="*/ 354974 w 3240000"/>
                <a:gd name="connsiteY2" fmla="*/ 28136 h 1648136"/>
                <a:gd name="connsiteX3" fmla="*/ 1620000 w 3240000"/>
                <a:gd name="connsiteY3" fmla="*/ 1293162 h 1648136"/>
                <a:gd name="connsiteX4" fmla="*/ 2885026 w 3240000"/>
                <a:gd name="connsiteY4" fmla="*/ 28136 h 1648136"/>
                <a:gd name="connsiteX5" fmla="*/ 2883605 w 3240000"/>
                <a:gd name="connsiteY5" fmla="*/ 0 h 1648136"/>
                <a:gd name="connsiteX6" fmla="*/ 3238579 w 3240000"/>
                <a:gd name="connsiteY6" fmla="*/ 0 h 1648136"/>
                <a:gd name="connsiteX7" fmla="*/ 3240000 w 3240000"/>
                <a:gd name="connsiteY7" fmla="*/ 28136 h 1648136"/>
                <a:gd name="connsiteX8" fmla="*/ 1620000 w 3240000"/>
                <a:gd name="connsiteY8" fmla="*/ 1648136 h 1648136"/>
                <a:gd name="connsiteX9" fmla="*/ 0 w 3240000"/>
                <a:gd name="connsiteY9" fmla="*/ 28136 h 164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40000" h="1648136">
                  <a:moveTo>
                    <a:pt x="1421" y="0"/>
                  </a:moveTo>
                  <a:lnTo>
                    <a:pt x="356395" y="0"/>
                  </a:lnTo>
                  <a:lnTo>
                    <a:pt x="354974" y="28136"/>
                  </a:lnTo>
                  <a:cubicBezTo>
                    <a:pt x="354974" y="726791"/>
                    <a:pt x="921345" y="1293162"/>
                    <a:pt x="1620000" y="1293162"/>
                  </a:cubicBezTo>
                  <a:cubicBezTo>
                    <a:pt x="2318655" y="1293162"/>
                    <a:pt x="2885026" y="726791"/>
                    <a:pt x="2885026" y="28136"/>
                  </a:cubicBezTo>
                  <a:lnTo>
                    <a:pt x="2883605" y="0"/>
                  </a:lnTo>
                  <a:lnTo>
                    <a:pt x="3238579" y="0"/>
                  </a:lnTo>
                  <a:lnTo>
                    <a:pt x="3240000" y="28136"/>
                  </a:lnTo>
                  <a:cubicBezTo>
                    <a:pt x="3240000" y="922837"/>
                    <a:pt x="2514701" y="1648136"/>
                    <a:pt x="1620000" y="1648136"/>
                  </a:cubicBezTo>
                  <a:cubicBezTo>
                    <a:pt x="725299" y="1648136"/>
                    <a:pt x="0" y="922837"/>
                    <a:pt x="0" y="2813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C5F9004E-A883-4003-B731-3B6BE9B8D6DC}"/>
              </a:ext>
            </a:extLst>
          </p:cNvPr>
          <p:cNvSpPr/>
          <p:nvPr/>
        </p:nvSpPr>
        <p:spPr>
          <a:xfrm>
            <a:off x="12700" y="130175"/>
            <a:ext cx="10653713" cy="711200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2">
                <a:lumMod val="7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 eaLnBrk="1" fontAlgn="auto" hangingPunct="1">
              <a:spcAft>
                <a:spcPts val="0"/>
              </a:spcAft>
              <a:defRPr/>
            </a:pPr>
            <a:endParaRPr lang="ru-RU" sz="1300" b="1" dirty="0">
              <a:solidFill>
                <a:srgbClr val="FFC000"/>
              </a:solidFill>
              <a:cs typeface="Arial" panose="020B0604020202020204" pitchFamily="34" charset="0"/>
            </a:endParaRPr>
          </a:p>
        </p:txBody>
      </p:sp>
      <p:pic>
        <p:nvPicPr>
          <p:cNvPr id="8" name="Picture Placeholder 7" descr="A group of people looking at a book&#10;&#10;Description automatically generated with low confidence">
            <a:extLst>
              <a:ext uri="{FF2B5EF4-FFF2-40B4-BE49-F238E27FC236}">
                <a16:creationId xmlns:a16="http://schemas.microsoft.com/office/drawing/2014/main" id="{5233C1D4-BE24-4446-9871-5C64D858E1C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hqprint"/>
          <a:srcRect/>
          <a:stretch>
            <a:fillRect/>
          </a:stretch>
        </p:blipFill>
        <p:spPr/>
      </p:pic>
      <p:pic>
        <p:nvPicPr>
          <p:cNvPr id="10" name="Picture Placeholder 9" descr="A picture containing rug&#10;&#10;Description automatically generated">
            <a:extLst>
              <a:ext uri="{FF2B5EF4-FFF2-40B4-BE49-F238E27FC236}">
                <a16:creationId xmlns:a16="http://schemas.microsoft.com/office/drawing/2014/main" id="{872571B7-59E6-43E6-8EAD-16608292DFA3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print"/>
          <a:srcRect/>
          <a:stretch>
            <a:fillRect/>
          </a:stretch>
        </p:blipFill>
        <p:spPr/>
      </p:pic>
      <p:pic>
        <p:nvPicPr>
          <p:cNvPr id="78" name="Picture 2" descr="Graduated - Free people icons">
            <a:extLst>
              <a:ext uri="{FF2B5EF4-FFF2-40B4-BE49-F238E27FC236}">
                <a16:creationId xmlns:a16="http://schemas.microsoft.com/office/drawing/2014/main" id="{DEC1E721-1AB7-437B-9D3C-DD83600378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32290" y="842854"/>
            <a:ext cx="793141" cy="793141"/>
          </a:xfrm>
          <a:prstGeom prst="rect">
            <a:avLst/>
          </a:prstGeom>
          <a:noFill/>
        </p:spPr>
      </p:pic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B80D3325-7D6E-4F2A-B5B4-B0053BD2E28B}"/>
              </a:ext>
            </a:extLst>
          </p:cNvPr>
          <p:cNvGrpSpPr>
            <a:grpSpLocks/>
          </p:cNvGrpSpPr>
          <p:nvPr/>
        </p:nvGrpSpPr>
        <p:grpSpPr bwMode="auto">
          <a:xfrm>
            <a:off x="465138" y="1639888"/>
            <a:ext cx="1190625" cy="1196975"/>
            <a:chOff x="1125413" y="2852223"/>
            <a:chExt cx="3240000" cy="3254068"/>
          </a:xfrm>
        </p:grpSpPr>
        <p:sp>
          <p:nvSpPr>
            <p:cNvPr id="111" name="Круг: прозрачная заливка 7">
              <a:extLst>
                <a:ext uri="{FF2B5EF4-FFF2-40B4-BE49-F238E27FC236}">
                  <a16:creationId xmlns:a16="http://schemas.microsoft.com/office/drawing/2014/main" id="{C798E87F-82CB-43B4-84D2-3BDD63096A68}"/>
                </a:ext>
              </a:extLst>
            </p:cNvPr>
            <p:cNvSpPr/>
            <p:nvPr/>
          </p:nvSpPr>
          <p:spPr>
            <a:xfrm>
              <a:off x="1125413" y="2852223"/>
              <a:ext cx="3240000" cy="3241119"/>
            </a:xfrm>
            <a:prstGeom prst="donut">
              <a:avLst>
                <a:gd name="adj" fmla="val 1095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2" name="Полилиния: фигура 14">
              <a:extLst>
                <a:ext uri="{FF2B5EF4-FFF2-40B4-BE49-F238E27FC236}">
                  <a16:creationId xmlns:a16="http://schemas.microsoft.com/office/drawing/2014/main" id="{4E58342E-693D-4AE7-BDCD-AC24E7BFE249}"/>
                </a:ext>
              </a:extLst>
            </p:cNvPr>
            <p:cNvSpPr/>
            <p:nvPr/>
          </p:nvSpPr>
          <p:spPr>
            <a:xfrm>
              <a:off x="1125413" y="4457678"/>
              <a:ext cx="3240000" cy="1648613"/>
            </a:xfrm>
            <a:custGeom>
              <a:avLst/>
              <a:gdLst>
                <a:gd name="connsiteX0" fmla="*/ 1421 w 3240000"/>
                <a:gd name="connsiteY0" fmla="*/ 0 h 1648136"/>
                <a:gd name="connsiteX1" fmla="*/ 356395 w 3240000"/>
                <a:gd name="connsiteY1" fmla="*/ 0 h 1648136"/>
                <a:gd name="connsiteX2" fmla="*/ 354974 w 3240000"/>
                <a:gd name="connsiteY2" fmla="*/ 28136 h 1648136"/>
                <a:gd name="connsiteX3" fmla="*/ 1620000 w 3240000"/>
                <a:gd name="connsiteY3" fmla="*/ 1293162 h 1648136"/>
                <a:gd name="connsiteX4" fmla="*/ 2885026 w 3240000"/>
                <a:gd name="connsiteY4" fmla="*/ 28136 h 1648136"/>
                <a:gd name="connsiteX5" fmla="*/ 2883605 w 3240000"/>
                <a:gd name="connsiteY5" fmla="*/ 0 h 1648136"/>
                <a:gd name="connsiteX6" fmla="*/ 3238579 w 3240000"/>
                <a:gd name="connsiteY6" fmla="*/ 0 h 1648136"/>
                <a:gd name="connsiteX7" fmla="*/ 3240000 w 3240000"/>
                <a:gd name="connsiteY7" fmla="*/ 28136 h 1648136"/>
                <a:gd name="connsiteX8" fmla="*/ 1620000 w 3240000"/>
                <a:gd name="connsiteY8" fmla="*/ 1648136 h 1648136"/>
                <a:gd name="connsiteX9" fmla="*/ 0 w 3240000"/>
                <a:gd name="connsiteY9" fmla="*/ 28136 h 164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40000" h="1648136">
                  <a:moveTo>
                    <a:pt x="1421" y="0"/>
                  </a:moveTo>
                  <a:lnTo>
                    <a:pt x="356395" y="0"/>
                  </a:lnTo>
                  <a:lnTo>
                    <a:pt x="354974" y="28136"/>
                  </a:lnTo>
                  <a:cubicBezTo>
                    <a:pt x="354974" y="726791"/>
                    <a:pt x="921345" y="1293162"/>
                    <a:pt x="1620000" y="1293162"/>
                  </a:cubicBezTo>
                  <a:cubicBezTo>
                    <a:pt x="2318655" y="1293162"/>
                    <a:pt x="2885026" y="726791"/>
                    <a:pt x="2885026" y="28136"/>
                  </a:cubicBezTo>
                  <a:lnTo>
                    <a:pt x="2883605" y="0"/>
                  </a:lnTo>
                  <a:lnTo>
                    <a:pt x="3238579" y="0"/>
                  </a:lnTo>
                  <a:lnTo>
                    <a:pt x="3240000" y="28136"/>
                  </a:lnTo>
                  <a:cubicBezTo>
                    <a:pt x="3240000" y="922837"/>
                    <a:pt x="2514701" y="1648136"/>
                    <a:pt x="1620000" y="1648136"/>
                  </a:cubicBezTo>
                  <a:cubicBezTo>
                    <a:pt x="725299" y="1648136"/>
                    <a:pt x="0" y="922837"/>
                    <a:pt x="0" y="28136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78DAA556-32CE-4AC6-BE1A-82FE7ABAE6A2}"/>
              </a:ext>
            </a:extLst>
          </p:cNvPr>
          <p:cNvGrpSpPr>
            <a:grpSpLocks/>
          </p:cNvGrpSpPr>
          <p:nvPr/>
        </p:nvGrpSpPr>
        <p:grpSpPr bwMode="auto">
          <a:xfrm>
            <a:off x="1676400" y="1639888"/>
            <a:ext cx="1190625" cy="1196975"/>
            <a:chOff x="1125413" y="2852223"/>
            <a:chExt cx="3240000" cy="3254068"/>
          </a:xfrm>
        </p:grpSpPr>
        <p:sp>
          <p:nvSpPr>
            <p:cNvPr id="114" name="Круг: прозрачная заливка 18">
              <a:extLst>
                <a:ext uri="{FF2B5EF4-FFF2-40B4-BE49-F238E27FC236}">
                  <a16:creationId xmlns:a16="http://schemas.microsoft.com/office/drawing/2014/main" id="{43E7B4C2-41ED-47E0-9A2D-B8FFA2C75B86}"/>
                </a:ext>
              </a:extLst>
            </p:cNvPr>
            <p:cNvSpPr/>
            <p:nvPr/>
          </p:nvSpPr>
          <p:spPr>
            <a:xfrm>
              <a:off x="1125413" y="2852223"/>
              <a:ext cx="3240000" cy="3241119"/>
            </a:xfrm>
            <a:prstGeom prst="donut">
              <a:avLst>
                <a:gd name="adj" fmla="val 1095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5" name="Полилиния: фигура 19">
              <a:extLst>
                <a:ext uri="{FF2B5EF4-FFF2-40B4-BE49-F238E27FC236}">
                  <a16:creationId xmlns:a16="http://schemas.microsoft.com/office/drawing/2014/main" id="{9CBC972B-8241-4877-A153-217E6402A1E1}"/>
                </a:ext>
              </a:extLst>
            </p:cNvPr>
            <p:cNvSpPr/>
            <p:nvPr/>
          </p:nvSpPr>
          <p:spPr>
            <a:xfrm>
              <a:off x="1125413" y="4457678"/>
              <a:ext cx="3240000" cy="1648613"/>
            </a:xfrm>
            <a:custGeom>
              <a:avLst/>
              <a:gdLst>
                <a:gd name="connsiteX0" fmla="*/ 1421 w 3240000"/>
                <a:gd name="connsiteY0" fmla="*/ 0 h 1648136"/>
                <a:gd name="connsiteX1" fmla="*/ 356395 w 3240000"/>
                <a:gd name="connsiteY1" fmla="*/ 0 h 1648136"/>
                <a:gd name="connsiteX2" fmla="*/ 354974 w 3240000"/>
                <a:gd name="connsiteY2" fmla="*/ 28136 h 1648136"/>
                <a:gd name="connsiteX3" fmla="*/ 1620000 w 3240000"/>
                <a:gd name="connsiteY3" fmla="*/ 1293162 h 1648136"/>
                <a:gd name="connsiteX4" fmla="*/ 2885026 w 3240000"/>
                <a:gd name="connsiteY4" fmla="*/ 28136 h 1648136"/>
                <a:gd name="connsiteX5" fmla="*/ 2883605 w 3240000"/>
                <a:gd name="connsiteY5" fmla="*/ 0 h 1648136"/>
                <a:gd name="connsiteX6" fmla="*/ 3238579 w 3240000"/>
                <a:gd name="connsiteY6" fmla="*/ 0 h 1648136"/>
                <a:gd name="connsiteX7" fmla="*/ 3240000 w 3240000"/>
                <a:gd name="connsiteY7" fmla="*/ 28136 h 1648136"/>
                <a:gd name="connsiteX8" fmla="*/ 1620000 w 3240000"/>
                <a:gd name="connsiteY8" fmla="*/ 1648136 h 1648136"/>
                <a:gd name="connsiteX9" fmla="*/ 0 w 3240000"/>
                <a:gd name="connsiteY9" fmla="*/ 28136 h 164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40000" h="1648136">
                  <a:moveTo>
                    <a:pt x="1421" y="0"/>
                  </a:moveTo>
                  <a:lnTo>
                    <a:pt x="356395" y="0"/>
                  </a:lnTo>
                  <a:lnTo>
                    <a:pt x="354974" y="28136"/>
                  </a:lnTo>
                  <a:cubicBezTo>
                    <a:pt x="354974" y="726791"/>
                    <a:pt x="921345" y="1293162"/>
                    <a:pt x="1620000" y="1293162"/>
                  </a:cubicBezTo>
                  <a:cubicBezTo>
                    <a:pt x="2318655" y="1293162"/>
                    <a:pt x="2885026" y="726791"/>
                    <a:pt x="2885026" y="28136"/>
                  </a:cubicBezTo>
                  <a:lnTo>
                    <a:pt x="2883605" y="0"/>
                  </a:lnTo>
                  <a:lnTo>
                    <a:pt x="3238579" y="0"/>
                  </a:lnTo>
                  <a:lnTo>
                    <a:pt x="3240000" y="28136"/>
                  </a:lnTo>
                  <a:cubicBezTo>
                    <a:pt x="3240000" y="922837"/>
                    <a:pt x="2514701" y="1648136"/>
                    <a:pt x="1620000" y="1648136"/>
                  </a:cubicBezTo>
                  <a:cubicBezTo>
                    <a:pt x="725299" y="1648136"/>
                    <a:pt x="0" y="922837"/>
                    <a:pt x="0" y="28136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16" name="Прямоугольник 115">
            <a:extLst>
              <a:ext uri="{FF2B5EF4-FFF2-40B4-BE49-F238E27FC236}">
                <a16:creationId xmlns:a16="http://schemas.microsoft.com/office/drawing/2014/main" id="{98B1D141-E69D-451C-B5FD-A48D79EC0293}"/>
              </a:ext>
            </a:extLst>
          </p:cNvPr>
          <p:cNvSpPr/>
          <p:nvPr/>
        </p:nvSpPr>
        <p:spPr>
          <a:xfrm>
            <a:off x="465138" y="2208213"/>
            <a:ext cx="3697287" cy="7397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pSp>
        <p:nvGrpSpPr>
          <p:cNvPr id="117" name="Группа 116">
            <a:extLst>
              <a:ext uri="{FF2B5EF4-FFF2-40B4-BE49-F238E27FC236}">
                <a16:creationId xmlns:a16="http://schemas.microsoft.com/office/drawing/2014/main" id="{A4BAC698-C663-4FCC-8CB9-DF3D9F04C61E}"/>
              </a:ext>
            </a:extLst>
          </p:cNvPr>
          <p:cNvGrpSpPr>
            <a:grpSpLocks/>
          </p:cNvGrpSpPr>
          <p:nvPr/>
        </p:nvGrpSpPr>
        <p:grpSpPr bwMode="auto">
          <a:xfrm>
            <a:off x="127000" y="1876425"/>
            <a:ext cx="1741488" cy="706438"/>
            <a:chOff x="725783" y="3876189"/>
            <a:chExt cx="2316298" cy="706445"/>
          </a:xfrm>
        </p:grpSpPr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A7F639F6-CBF3-4AC8-AA39-C703DA7140E2}"/>
                </a:ext>
              </a:extLst>
            </p:cNvPr>
            <p:cNvSpPr txBox="1"/>
            <p:nvPr/>
          </p:nvSpPr>
          <p:spPr>
            <a:xfrm>
              <a:off x="1302219" y="3876189"/>
              <a:ext cx="1330235" cy="3079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412750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kern="0" dirty="0">
                  <a:solidFill>
                    <a:srgbClr val="A50050"/>
                  </a:solidFill>
                  <a:cs typeface="Arial" panose="020B0604020202020204" pitchFamily="34" charset="0"/>
                  <a:sym typeface="Helvetica Light"/>
                </a:rPr>
                <a:t>74 669</a:t>
              </a:r>
              <a:endParaRPr lang="uz-Cyrl-UZ" sz="1400" b="1" kern="0" dirty="0">
                <a:solidFill>
                  <a:srgbClr val="A50050"/>
                </a:solidFill>
                <a:cs typeface="Arial" panose="020B0604020202020204" pitchFamily="34" charset="0"/>
                <a:sym typeface="Helvetica Light"/>
              </a:endParaRPr>
            </a:p>
          </p:txBody>
        </p:sp>
        <p:sp>
          <p:nvSpPr>
            <p:cNvPr id="32865" name="TextBox 118">
              <a:extLst>
                <a:ext uri="{FF2B5EF4-FFF2-40B4-BE49-F238E27FC236}">
                  <a16:creationId xmlns:a16="http://schemas.microsoft.com/office/drawing/2014/main" id="{170BACE7-55D4-43C5-92BE-5228692C4AE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5783" y="4182524"/>
              <a:ext cx="2316298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uz-Cyrl-UZ" altLang="ru-RU" sz="1000" b="1">
                  <a:solidFill>
                    <a:srgbClr val="A50050"/>
                  </a:solidFill>
                  <a:cs typeface="Arial" panose="020B0604020202020204" pitchFamily="34" charset="0"/>
                </a:rPr>
                <a:t>Профессиональная школа</a:t>
              </a:r>
              <a:endParaRPr lang="ru-RU" altLang="ru-RU" sz="900" b="1">
                <a:solidFill>
                  <a:srgbClr val="A5005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20" name="Группа 119">
            <a:extLst>
              <a:ext uri="{FF2B5EF4-FFF2-40B4-BE49-F238E27FC236}">
                <a16:creationId xmlns:a16="http://schemas.microsoft.com/office/drawing/2014/main" id="{79207DCF-4573-47E8-B76D-1DFAFC5F138F}"/>
              </a:ext>
            </a:extLst>
          </p:cNvPr>
          <p:cNvGrpSpPr>
            <a:grpSpLocks/>
          </p:cNvGrpSpPr>
          <p:nvPr/>
        </p:nvGrpSpPr>
        <p:grpSpPr bwMode="auto">
          <a:xfrm>
            <a:off x="1717675" y="1884363"/>
            <a:ext cx="2390775" cy="563562"/>
            <a:chOff x="4637104" y="4031391"/>
            <a:chExt cx="4202892" cy="563576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AD118121-633E-45EB-8716-A98C44364FEF}"/>
                </a:ext>
              </a:extLst>
            </p:cNvPr>
            <p:cNvSpPr txBox="1"/>
            <p:nvPr/>
          </p:nvSpPr>
          <p:spPr>
            <a:xfrm>
              <a:off x="4944088" y="4047266"/>
              <a:ext cx="1333986" cy="3079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412750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kern="0" dirty="0">
                  <a:solidFill>
                    <a:srgbClr val="2A8880"/>
                  </a:solidFill>
                  <a:cs typeface="Arial" panose="020B0604020202020204" pitchFamily="34" charset="0"/>
                  <a:sym typeface="Helvetica Light"/>
                </a:rPr>
                <a:t>45 677</a:t>
              </a:r>
              <a:endParaRPr lang="uz-Cyrl-UZ" sz="1400" b="1" kern="0" dirty="0">
                <a:solidFill>
                  <a:srgbClr val="2A8880"/>
                </a:solidFill>
                <a:cs typeface="Arial" panose="020B0604020202020204" pitchFamily="34" charset="0"/>
                <a:sym typeface="Helvetica Light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663DC1B3-8023-4036-91DF-DB7809B38A21}"/>
                </a:ext>
              </a:extLst>
            </p:cNvPr>
            <p:cNvSpPr txBox="1"/>
            <p:nvPr/>
          </p:nvSpPr>
          <p:spPr>
            <a:xfrm>
              <a:off x="4637104" y="4340961"/>
              <a:ext cx="1956327" cy="25400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050" b="1" dirty="0">
                  <a:solidFill>
                    <a:srgbClr val="2A8880"/>
                  </a:solidFill>
                  <a:cs typeface="Arial" panose="020B0604020202020204" pitchFamily="34" charset="0"/>
                </a:rPr>
                <a:t>Колледж</a:t>
              </a:r>
              <a:endParaRPr lang="ru-RU" sz="1000" b="1" dirty="0">
                <a:solidFill>
                  <a:srgbClr val="2A888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84F324DE-B869-472A-A682-E75FB3CBFFF4}"/>
                </a:ext>
              </a:extLst>
            </p:cNvPr>
            <p:cNvSpPr txBox="1"/>
            <p:nvPr/>
          </p:nvSpPr>
          <p:spPr>
            <a:xfrm>
              <a:off x="7084606" y="4031391"/>
              <a:ext cx="1333986" cy="30798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412750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b="1" kern="0" dirty="0">
                  <a:solidFill>
                    <a:srgbClr val="0075A6"/>
                  </a:solidFill>
                  <a:cs typeface="Arial" panose="020B0604020202020204" pitchFamily="34" charset="0"/>
                  <a:sym typeface="Helvetica Light"/>
                </a:rPr>
                <a:t>22 859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FA2F5171-A68A-491A-8957-42FE681C228D}"/>
                </a:ext>
              </a:extLst>
            </p:cNvPr>
            <p:cNvSpPr txBox="1"/>
            <p:nvPr/>
          </p:nvSpPr>
          <p:spPr>
            <a:xfrm>
              <a:off x="6746922" y="4329848"/>
              <a:ext cx="2093074" cy="25400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050" b="1" dirty="0">
                  <a:solidFill>
                    <a:srgbClr val="0075A6"/>
                  </a:solidFill>
                  <a:cs typeface="Arial" panose="020B0604020202020204" pitchFamily="34" charset="0"/>
                </a:rPr>
                <a:t>Техникум</a:t>
              </a:r>
              <a:endParaRPr lang="ru-RU" sz="1000" b="1" dirty="0">
                <a:solidFill>
                  <a:srgbClr val="0075A6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30" name="TextBox 129">
            <a:extLst>
              <a:ext uri="{FF2B5EF4-FFF2-40B4-BE49-F238E27FC236}">
                <a16:creationId xmlns:a16="http://schemas.microsoft.com/office/drawing/2014/main" id="{A1E916C3-7757-4B23-BB29-77A97B6081A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09725" y="1081088"/>
            <a:ext cx="1171575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ru-RU" b="1" dirty="0">
                <a:solidFill>
                  <a:srgbClr val="FF0000"/>
                </a:solidFill>
                <a:cs typeface="Arial" panose="020B0604020202020204" pitchFamily="34" charset="0"/>
              </a:rPr>
              <a:t>1</a:t>
            </a:r>
            <a:r>
              <a:rPr lang="uz-Cyrl-UZ" altLang="ru-RU" b="1" dirty="0">
                <a:solidFill>
                  <a:srgbClr val="FF0000"/>
                </a:solidFill>
                <a:cs typeface="Arial" panose="020B0604020202020204" pitchFamily="34" charset="0"/>
              </a:rPr>
              <a:t>43 205</a:t>
            </a:r>
            <a:endParaRPr lang="ru-RU" altLang="ru-RU" b="1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E7B0F382-7E71-402C-81DC-DECA2A3004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93913" y="1339850"/>
            <a:ext cx="1531937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uz-Cyrl-UZ" altLang="ru-RU" sz="1400" b="1" dirty="0">
                <a:cs typeface="Arial" panose="020B0604020202020204" pitchFamily="34" charset="0"/>
              </a:rPr>
              <a:t>выпускников</a:t>
            </a:r>
            <a:endParaRPr lang="ru-RU" altLang="ru-RU" sz="1400" b="1" dirty="0">
              <a:cs typeface="Arial" panose="020B0604020202020204" pitchFamily="34" charset="0"/>
            </a:endParaRPr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010537FC-50BC-473F-90FE-8716134031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62063" y="2606675"/>
            <a:ext cx="18669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uz-Cyrl-UZ" altLang="ru-RU" b="1" dirty="0">
                <a:solidFill>
                  <a:srgbClr val="002060"/>
                </a:solidFill>
                <a:cs typeface="Arial" panose="020B0604020202020204" pitchFamily="34" charset="0"/>
              </a:rPr>
              <a:t>в 2022 году</a:t>
            </a:r>
            <a:endParaRPr lang="ru-RU" altLang="ru-RU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grpSp>
        <p:nvGrpSpPr>
          <p:cNvPr id="134" name="Группа 133">
            <a:extLst>
              <a:ext uri="{FF2B5EF4-FFF2-40B4-BE49-F238E27FC236}">
                <a16:creationId xmlns:a16="http://schemas.microsoft.com/office/drawing/2014/main" id="{D301DFFA-50BC-4B5A-B698-8B02EBDBE090}"/>
              </a:ext>
            </a:extLst>
          </p:cNvPr>
          <p:cNvGrpSpPr>
            <a:grpSpLocks/>
          </p:cNvGrpSpPr>
          <p:nvPr/>
        </p:nvGrpSpPr>
        <p:grpSpPr bwMode="auto">
          <a:xfrm>
            <a:off x="7178675" y="1638300"/>
            <a:ext cx="1190625" cy="1196975"/>
            <a:chOff x="1125413" y="2852223"/>
            <a:chExt cx="3240000" cy="3254068"/>
          </a:xfrm>
        </p:grpSpPr>
        <p:sp>
          <p:nvSpPr>
            <p:cNvPr id="135" name="Круг: прозрачная заливка 18">
              <a:extLst>
                <a:ext uri="{FF2B5EF4-FFF2-40B4-BE49-F238E27FC236}">
                  <a16:creationId xmlns:a16="http://schemas.microsoft.com/office/drawing/2014/main" id="{B9C3A21C-D20A-4B20-94D7-EBB1114C3E5B}"/>
                </a:ext>
              </a:extLst>
            </p:cNvPr>
            <p:cNvSpPr/>
            <p:nvPr/>
          </p:nvSpPr>
          <p:spPr>
            <a:xfrm>
              <a:off x="1125413" y="2852223"/>
              <a:ext cx="3240000" cy="3241122"/>
            </a:xfrm>
            <a:prstGeom prst="donut">
              <a:avLst>
                <a:gd name="adj" fmla="val 1095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36" name="Полилиния: фигура 19">
              <a:extLst>
                <a:ext uri="{FF2B5EF4-FFF2-40B4-BE49-F238E27FC236}">
                  <a16:creationId xmlns:a16="http://schemas.microsoft.com/office/drawing/2014/main" id="{C2B94D00-3957-45C1-99A5-20CD450F6026}"/>
                </a:ext>
              </a:extLst>
            </p:cNvPr>
            <p:cNvSpPr/>
            <p:nvPr/>
          </p:nvSpPr>
          <p:spPr>
            <a:xfrm>
              <a:off x="1125413" y="4457678"/>
              <a:ext cx="3240000" cy="1648613"/>
            </a:xfrm>
            <a:custGeom>
              <a:avLst/>
              <a:gdLst>
                <a:gd name="connsiteX0" fmla="*/ 1421 w 3240000"/>
                <a:gd name="connsiteY0" fmla="*/ 0 h 1648136"/>
                <a:gd name="connsiteX1" fmla="*/ 356395 w 3240000"/>
                <a:gd name="connsiteY1" fmla="*/ 0 h 1648136"/>
                <a:gd name="connsiteX2" fmla="*/ 354974 w 3240000"/>
                <a:gd name="connsiteY2" fmla="*/ 28136 h 1648136"/>
                <a:gd name="connsiteX3" fmla="*/ 1620000 w 3240000"/>
                <a:gd name="connsiteY3" fmla="*/ 1293162 h 1648136"/>
                <a:gd name="connsiteX4" fmla="*/ 2885026 w 3240000"/>
                <a:gd name="connsiteY4" fmla="*/ 28136 h 1648136"/>
                <a:gd name="connsiteX5" fmla="*/ 2883605 w 3240000"/>
                <a:gd name="connsiteY5" fmla="*/ 0 h 1648136"/>
                <a:gd name="connsiteX6" fmla="*/ 3238579 w 3240000"/>
                <a:gd name="connsiteY6" fmla="*/ 0 h 1648136"/>
                <a:gd name="connsiteX7" fmla="*/ 3240000 w 3240000"/>
                <a:gd name="connsiteY7" fmla="*/ 28136 h 1648136"/>
                <a:gd name="connsiteX8" fmla="*/ 1620000 w 3240000"/>
                <a:gd name="connsiteY8" fmla="*/ 1648136 h 1648136"/>
                <a:gd name="connsiteX9" fmla="*/ 0 w 3240000"/>
                <a:gd name="connsiteY9" fmla="*/ 28136 h 164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40000" h="1648136">
                  <a:moveTo>
                    <a:pt x="1421" y="0"/>
                  </a:moveTo>
                  <a:lnTo>
                    <a:pt x="356395" y="0"/>
                  </a:lnTo>
                  <a:lnTo>
                    <a:pt x="354974" y="28136"/>
                  </a:lnTo>
                  <a:cubicBezTo>
                    <a:pt x="354974" y="726791"/>
                    <a:pt x="921345" y="1293162"/>
                    <a:pt x="1620000" y="1293162"/>
                  </a:cubicBezTo>
                  <a:cubicBezTo>
                    <a:pt x="2318655" y="1293162"/>
                    <a:pt x="2885026" y="726791"/>
                    <a:pt x="2885026" y="28136"/>
                  </a:cubicBezTo>
                  <a:lnTo>
                    <a:pt x="2883605" y="0"/>
                  </a:lnTo>
                  <a:lnTo>
                    <a:pt x="3238579" y="0"/>
                  </a:lnTo>
                  <a:lnTo>
                    <a:pt x="3240000" y="28136"/>
                  </a:lnTo>
                  <a:cubicBezTo>
                    <a:pt x="3240000" y="922837"/>
                    <a:pt x="2514701" y="1648136"/>
                    <a:pt x="1620000" y="1648136"/>
                  </a:cubicBezTo>
                  <a:cubicBezTo>
                    <a:pt x="725299" y="1648136"/>
                    <a:pt x="0" y="922837"/>
                    <a:pt x="0" y="28136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37" name="Picture 2" descr="Graduated - Free people icons">
            <a:extLst>
              <a:ext uri="{FF2B5EF4-FFF2-40B4-BE49-F238E27FC236}">
                <a16:creationId xmlns:a16="http://schemas.microsoft.com/office/drawing/2014/main" id="{A76C67D8-41B9-427F-B9FD-A9E25E49A7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325904" y="842242"/>
            <a:ext cx="793141" cy="793141"/>
          </a:xfrm>
          <a:prstGeom prst="rect">
            <a:avLst/>
          </a:prstGeom>
          <a:noFill/>
        </p:spPr>
      </p:pic>
      <p:grpSp>
        <p:nvGrpSpPr>
          <p:cNvPr id="138" name="Группа 137">
            <a:extLst>
              <a:ext uri="{FF2B5EF4-FFF2-40B4-BE49-F238E27FC236}">
                <a16:creationId xmlns:a16="http://schemas.microsoft.com/office/drawing/2014/main" id="{C826FE1C-55F5-43FD-903D-DA0F93A69E2A}"/>
              </a:ext>
            </a:extLst>
          </p:cNvPr>
          <p:cNvGrpSpPr>
            <a:grpSpLocks/>
          </p:cNvGrpSpPr>
          <p:nvPr/>
        </p:nvGrpSpPr>
        <p:grpSpPr bwMode="auto">
          <a:xfrm>
            <a:off x="4757738" y="1638300"/>
            <a:ext cx="1192212" cy="1196975"/>
            <a:chOff x="1125413" y="2852223"/>
            <a:chExt cx="3240000" cy="3254068"/>
          </a:xfrm>
        </p:grpSpPr>
        <p:sp>
          <p:nvSpPr>
            <p:cNvPr id="139" name="Круг: прозрачная заливка 7">
              <a:extLst>
                <a:ext uri="{FF2B5EF4-FFF2-40B4-BE49-F238E27FC236}">
                  <a16:creationId xmlns:a16="http://schemas.microsoft.com/office/drawing/2014/main" id="{ADCD4788-E34E-4006-A73C-52E6A87F5166}"/>
                </a:ext>
              </a:extLst>
            </p:cNvPr>
            <p:cNvSpPr/>
            <p:nvPr/>
          </p:nvSpPr>
          <p:spPr>
            <a:xfrm>
              <a:off x="1125413" y="2852223"/>
              <a:ext cx="3240000" cy="3241122"/>
            </a:xfrm>
            <a:prstGeom prst="donut">
              <a:avLst>
                <a:gd name="adj" fmla="val 1095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40" name="Полилиния: фигура 14">
              <a:extLst>
                <a:ext uri="{FF2B5EF4-FFF2-40B4-BE49-F238E27FC236}">
                  <a16:creationId xmlns:a16="http://schemas.microsoft.com/office/drawing/2014/main" id="{04E3DF66-5201-4F97-B705-DC4714D2D008}"/>
                </a:ext>
              </a:extLst>
            </p:cNvPr>
            <p:cNvSpPr/>
            <p:nvPr/>
          </p:nvSpPr>
          <p:spPr>
            <a:xfrm>
              <a:off x="1125413" y="4457678"/>
              <a:ext cx="3240000" cy="1648613"/>
            </a:xfrm>
            <a:custGeom>
              <a:avLst/>
              <a:gdLst>
                <a:gd name="connsiteX0" fmla="*/ 1421 w 3240000"/>
                <a:gd name="connsiteY0" fmla="*/ 0 h 1648136"/>
                <a:gd name="connsiteX1" fmla="*/ 356395 w 3240000"/>
                <a:gd name="connsiteY1" fmla="*/ 0 h 1648136"/>
                <a:gd name="connsiteX2" fmla="*/ 354974 w 3240000"/>
                <a:gd name="connsiteY2" fmla="*/ 28136 h 1648136"/>
                <a:gd name="connsiteX3" fmla="*/ 1620000 w 3240000"/>
                <a:gd name="connsiteY3" fmla="*/ 1293162 h 1648136"/>
                <a:gd name="connsiteX4" fmla="*/ 2885026 w 3240000"/>
                <a:gd name="connsiteY4" fmla="*/ 28136 h 1648136"/>
                <a:gd name="connsiteX5" fmla="*/ 2883605 w 3240000"/>
                <a:gd name="connsiteY5" fmla="*/ 0 h 1648136"/>
                <a:gd name="connsiteX6" fmla="*/ 3238579 w 3240000"/>
                <a:gd name="connsiteY6" fmla="*/ 0 h 1648136"/>
                <a:gd name="connsiteX7" fmla="*/ 3240000 w 3240000"/>
                <a:gd name="connsiteY7" fmla="*/ 28136 h 1648136"/>
                <a:gd name="connsiteX8" fmla="*/ 1620000 w 3240000"/>
                <a:gd name="connsiteY8" fmla="*/ 1648136 h 1648136"/>
                <a:gd name="connsiteX9" fmla="*/ 0 w 3240000"/>
                <a:gd name="connsiteY9" fmla="*/ 28136 h 164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40000" h="1648136">
                  <a:moveTo>
                    <a:pt x="1421" y="0"/>
                  </a:moveTo>
                  <a:lnTo>
                    <a:pt x="356395" y="0"/>
                  </a:lnTo>
                  <a:lnTo>
                    <a:pt x="354974" y="28136"/>
                  </a:lnTo>
                  <a:cubicBezTo>
                    <a:pt x="354974" y="726791"/>
                    <a:pt x="921345" y="1293162"/>
                    <a:pt x="1620000" y="1293162"/>
                  </a:cubicBezTo>
                  <a:cubicBezTo>
                    <a:pt x="2318655" y="1293162"/>
                    <a:pt x="2885026" y="726791"/>
                    <a:pt x="2885026" y="28136"/>
                  </a:cubicBezTo>
                  <a:lnTo>
                    <a:pt x="2883605" y="0"/>
                  </a:lnTo>
                  <a:lnTo>
                    <a:pt x="3238579" y="0"/>
                  </a:lnTo>
                  <a:lnTo>
                    <a:pt x="3240000" y="28136"/>
                  </a:lnTo>
                  <a:cubicBezTo>
                    <a:pt x="3240000" y="922837"/>
                    <a:pt x="2514701" y="1648136"/>
                    <a:pt x="1620000" y="1648136"/>
                  </a:cubicBezTo>
                  <a:cubicBezTo>
                    <a:pt x="725299" y="1648136"/>
                    <a:pt x="0" y="922837"/>
                    <a:pt x="0" y="28136"/>
                  </a:cubicBezTo>
                  <a:close/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41" name="Группа 140">
            <a:extLst>
              <a:ext uri="{FF2B5EF4-FFF2-40B4-BE49-F238E27FC236}">
                <a16:creationId xmlns:a16="http://schemas.microsoft.com/office/drawing/2014/main" id="{4C3DB1BC-3B18-42B6-959A-8BD1CDB8D6FB}"/>
              </a:ext>
            </a:extLst>
          </p:cNvPr>
          <p:cNvGrpSpPr>
            <a:grpSpLocks/>
          </p:cNvGrpSpPr>
          <p:nvPr/>
        </p:nvGrpSpPr>
        <p:grpSpPr bwMode="auto">
          <a:xfrm>
            <a:off x="5969000" y="1638300"/>
            <a:ext cx="1192213" cy="1196975"/>
            <a:chOff x="1125413" y="2852223"/>
            <a:chExt cx="3240000" cy="3254068"/>
          </a:xfrm>
        </p:grpSpPr>
        <p:sp>
          <p:nvSpPr>
            <p:cNvPr id="142" name="Круг: прозрачная заливка 18">
              <a:extLst>
                <a:ext uri="{FF2B5EF4-FFF2-40B4-BE49-F238E27FC236}">
                  <a16:creationId xmlns:a16="http://schemas.microsoft.com/office/drawing/2014/main" id="{24D82084-9359-4FF9-8052-DDA916FD2EFB}"/>
                </a:ext>
              </a:extLst>
            </p:cNvPr>
            <p:cNvSpPr/>
            <p:nvPr/>
          </p:nvSpPr>
          <p:spPr>
            <a:xfrm>
              <a:off x="1125413" y="2852223"/>
              <a:ext cx="3240000" cy="3241122"/>
            </a:xfrm>
            <a:prstGeom prst="donut">
              <a:avLst>
                <a:gd name="adj" fmla="val 10956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43" name="Полилиния: фигура 19">
              <a:extLst>
                <a:ext uri="{FF2B5EF4-FFF2-40B4-BE49-F238E27FC236}">
                  <a16:creationId xmlns:a16="http://schemas.microsoft.com/office/drawing/2014/main" id="{9948E6C5-BADA-440C-B787-4CE79874AD06}"/>
                </a:ext>
              </a:extLst>
            </p:cNvPr>
            <p:cNvSpPr/>
            <p:nvPr/>
          </p:nvSpPr>
          <p:spPr>
            <a:xfrm>
              <a:off x="1125413" y="4457678"/>
              <a:ext cx="3240000" cy="1648613"/>
            </a:xfrm>
            <a:custGeom>
              <a:avLst/>
              <a:gdLst>
                <a:gd name="connsiteX0" fmla="*/ 1421 w 3240000"/>
                <a:gd name="connsiteY0" fmla="*/ 0 h 1648136"/>
                <a:gd name="connsiteX1" fmla="*/ 356395 w 3240000"/>
                <a:gd name="connsiteY1" fmla="*/ 0 h 1648136"/>
                <a:gd name="connsiteX2" fmla="*/ 354974 w 3240000"/>
                <a:gd name="connsiteY2" fmla="*/ 28136 h 1648136"/>
                <a:gd name="connsiteX3" fmla="*/ 1620000 w 3240000"/>
                <a:gd name="connsiteY3" fmla="*/ 1293162 h 1648136"/>
                <a:gd name="connsiteX4" fmla="*/ 2885026 w 3240000"/>
                <a:gd name="connsiteY4" fmla="*/ 28136 h 1648136"/>
                <a:gd name="connsiteX5" fmla="*/ 2883605 w 3240000"/>
                <a:gd name="connsiteY5" fmla="*/ 0 h 1648136"/>
                <a:gd name="connsiteX6" fmla="*/ 3238579 w 3240000"/>
                <a:gd name="connsiteY6" fmla="*/ 0 h 1648136"/>
                <a:gd name="connsiteX7" fmla="*/ 3240000 w 3240000"/>
                <a:gd name="connsiteY7" fmla="*/ 28136 h 1648136"/>
                <a:gd name="connsiteX8" fmla="*/ 1620000 w 3240000"/>
                <a:gd name="connsiteY8" fmla="*/ 1648136 h 1648136"/>
                <a:gd name="connsiteX9" fmla="*/ 0 w 3240000"/>
                <a:gd name="connsiteY9" fmla="*/ 28136 h 16481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40000" h="1648136">
                  <a:moveTo>
                    <a:pt x="1421" y="0"/>
                  </a:moveTo>
                  <a:lnTo>
                    <a:pt x="356395" y="0"/>
                  </a:lnTo>
                  <a:lnTo>
                    <a:pt x="354974" y="28136"/>
                  </a:lnTo>
                  <a:cubicBezTo>
                    <a:pt x="354974" y="726791"/>
                    <a:pt x="921345" y="1293162"/>
                    <a:pt x="1620000" y="1293162"/>
                  </a:cubicBezTo>
                  <a:cubicBezTo>
                    <a:pt x="2318655" y="1293162"/>
                    <a:pt x="2885026" y="726791"/>
                    <a:pt x="2885026" y="28136"/>
                  </a:cubicBezTo>
                  <a:lnTo>
                    <a:pt x="2883605" y="0"/>
                  </a:lnTo>
                  <a:lnTo>
                    <a:pt x="3238579" y="0"/>
                  </a:lnTo>
                  <a:lnTo>
                    <a:pt x="3240000" y="28136"/>
                  </a:lnTo>
                  <a:cubicBezTo>
                    <a:pt x="3240000" y="922837"/>
                    <a:pt x="2514701" y="1648136"/>
                    <a:pt x="1620000" y="1648136"/>
                  </a:cubicBezTo>
                  <a:cubicBezTo>
                    <a:pt x="725299" y="1648136"/>
                    <a:pt x="0" y="922837"/>
                    <a:pt x="0" y="28136"/>
                  </a:cubicBez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44" name="Прямоугольник 143">
            <a:extLst>
              <a:ext uri="{FF2B5EF4-FFF2-40B4-BE49-F238E27FC236}">
                <a16:creationId xmlns:a16="http://schemas.microsoft.com/office/drawing/2014/main" id="{86C71E0B-E683-4D71-B5C2-56944C05201F}"/>
              </a:ext>
            </a:extLst>
          </p:cNvPr>
          <p:cNvSpPr/>
          <p:nvPr/>
        </p:nvSpPr>
        <p:spPr>
          <a:xfrm>
            <a:off x="4757738" y="2206625"/>
            <a:ext cx="3698875" cy="73977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grpSp>
        <p:nvGrpSpPr>
          <p:cNvPr id="145" name="Группа 144">
            <a:extLst>
              <a:ext uri="{FF2B5EF4-FFF2-40B4-BE49-F238E27FC236}">
                <a16:creationId xmlns:a16="http://schemas.microsoft.com/office/drawing/2014/main" id="{C11883B3-B687-4786-9B90-A0C24EFE13B3}"/>
              </a:ext>
            </a:extLst>
          </p:cNvPr>
          <p:cNvGrpSpPr>
            <a:grpSpLocks/>
          </p:cNvGrpSpPr>
          <p:nvPr/>
        </p:nvGrpSpPr>
        <p:grpSpPr bwMode="auto">
          <a:xfrm>
            <a:off x="4419600" y="1876425"/>
            <a:ext cx="1670050" cy="704850"/>
            <a:chOff x="724734" y="3876189"/>
            <a:chExt cx="2220624" cy="705550"/>
          </a:xfrm>
        </p:grpSpPr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1BBCAE6B-AFFD-4434-BFE4-935B8A759724}"/>
                </a:ext>
              </a:extLst>
            </p:cNvPr>
            <p:cNvSpPr txBox="1"/>
            <p:nvPr/>
          </p:nvSpPr>
          <p:spPr>
            <a:xfrm>
              <a:off x="1300999" y="3876189"/>
              <a:ext cx="1331952" cy="30828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412750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400" b="1" kern="0" dirty="0">
                  <a:solidFill>
                    <a:srgbClr val="A50050"/>
                  </a:solidFill>
                  <a:cs typeface="Arial" panose="020B0604020202020204" pitchFamily="34" charset="0"/>
                  <a:sym typeface="Helvetica Light"/>
                </a:rPr>
                <a:t>85</a:t>
              </a:r>
              <a:r>
                <a:rPr lang="en-US" sz="1400" b="1" kern="0" dirty="0">
                  <a:solidFill>
                    <a:srgbClr val="A50050"/>
                  </a:solidFill>
                  <a:cs typeface="Arial" panose="020B0604020202020204" pitchFamily="34" charset="0"/>
                  <a:sym typeface="Helvetica Light"/>
                </a:rPr>
                <a:t> </a:t>
              </a:r>
              <a:r>
                <a:rPr lang="uz-Cyrl-UZ" sz="1400" b="1" kern="0" dirty="0">
                  <a:solidFill>
                    <a:srgbClr val="A50050"/>
                  </a:solidFill>
                  <a:cs typeface="Arial" panose="020B0604020202020204" pitchFamily="34" charset="0"/>
                  <a:sym typeface="Helvetica Light"/>
                </a:rPr>
                <a:t>108</a:t>
              </a:r>
            </a:p>
          </p:txBody>
        </p:sp>
        <p:sp>
          <p:nvSpPr>
            <p:cNvPr id="32853" name="TextBox 146">
              <a:extLst>
                <a:ext uri="{FF2B5EF4-FFF2-40B4-BE49-F238E27FC236}">
                  <a16:creationId xmlns:a16="http://schemas.microsoft.com/office/drawing/2014/main" id="{2484AE5C-FAE3-46BB-B3A9-B8899760D0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4734" y="4181629"/>
              <a:ext cx="2220624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uz-Cyrl-UZ" altLang="ru-RU" sz="1000" b="1">
                  <a:solidFill>
                    <a:srgbClr val="A50050"/>
                  </a:solidFill>
                  <a:cs typeface="Arial" panose="020B0604020202020204" pitchFamily="34" charset="0"/>
                </a:rPr>
                <a:t>Профессиональная школа</a:t>
              </a:r>
              <a:endParaRPr lang="ru-RU" altLang="ru-RU" sz="900" b="1">
                <a:solidFill>
                  <a:srgbClr val="A50050"/>
                </a:solidFill>
                <a:cs typeface="Arial" panose="020B0604020202020204" pitchFamily="34" charset="0"/>
              </a:endParaRPr>
            </a:p>
          </p:txBody>
        </p:sp>
      </p:grpSp>
      <p:grpSp>
        <p:nvGrpSpPr>
          <p:cNvPr id="148" name="Группа 147">
            <a:extLst>
              <a:ext uri="{FF2B5EF4-FFF2-40B4-BE49-F238E27FC236}">
                <a16:creationId xmlns:a16="http://schemas.microsoft.com/office/drawing/2014/main" id="{25722BB9-43DD-44CC-A325-A76ABD7B288B}"/>
              </a:ext>
            </a:extLst>
          </p:cNvPr>
          <p:cNvGrpSpPr>
            <a:grpSpLocks/>
          </p:cNvGrpSpPr>
          <p:nvPr/>
        </p:nvGrpSpPr>
        <p:grpSpPr bwMode="auto">
          <a:xfrm>
            <a:off x="6010275" y="1882775"/>
            <a:ext cx="2463800" cy="563563"/>
            <a:chOff x="4637106" y="4031391"/>
            <a:chExt cx="4328789" cy="563576"/>
          </a:xfrm>
        </p:grpSpPr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B66D7E60-BD19-4D84-ACE4-50C03B4275F6}"/>
                </a:ext>
              </a:extLst>
            </p:cNvPr>
            <p:cNvSpPr txBox="1"/>
            <p:nvPr/>
          </p:nvSpPr>
          <p:spPr>
            <a:xfrm>
              <a:off x="4943914" y="4047266"/>
              <a:ext cx="1333222" cy="30798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412750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400" b="1" kern="0" dirty="0">
                  <a:solidFill>
                    <a:srgbClr val="2A8880"/>
                  </a:solidFill>
                  <a:cs typeface="Arial" panose="020B0604020202020204" pitchFamily="34" charset="0"/>
                  <a:sym typeface="Helvetica Light"/>
                </a:rPr>
                <a:t>48</a:t>
              </a:r>
              <a:r>
                <a:rPr lang="en-US" sz="1400" b="1" kern="0" dirty="0">
                  <a:solidFill>
                    <a:srgbClr val="2A8880"/>
                  </a:solidFill>
                  <a:cs typeface="Arial" panose="020B0604020202020204" pitchFamily="34" charset="0"/>
                  <a:sym typeface="Helvetica Light"/>
                </a:rPr>
                <a:t> </a:t>
              </a:r>
              <a:r>
                <a:rPr lang="uz-Cyrl-UZ" sz="1400" b="1" kern="0" dirty="0">
                  <a:solidFill>
                    <a:srgbClr val="2A8880"/>
                  </a:solidFill>
                  <a:cs typeface="Arial" panose="020B0604020202020204" pitchFamily="34" charset="0"/>
                  <a:sym typeface="Helvetica Light"/>
                </a:rPr>
                <a:t>981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59F9DD36-3516-4F65-9023-3749377FAE70}"/>
                </a:ext>
              </a:extLst>
            </p:cNvPr>
            <p:cNvSpPr txBox="1"/>
            <p:nvPr/>
          </p:nvSpPr>
          <p:spPr>
            <a:xfrm>
              <a:off x="4637106" y="4340961"/>
              <a:ext cx="2077931" cy="25400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050" b="1" dirty="0">
                  <a:solidFill>
                    <a:srgbClr val="2A8880"/>
                  </a:solidFill>
                  <a:cs typeface="Arial" panose="020B0604020202020204" pitchFamily="34" charset="0"/>
                </a:rPr>
                <a:t>Колледж</a:t>
              </a:r>
              <a:endParaRPr lang="ru-RU" sz="1000" b="1" dirty="0">
                <a:solidFill>
                  <a:srgbClr val="2A8880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BB804262-9583-4AFF-BF3C-8837E4B847E5}"/>
                </a:ext>
              </a:extLst>
            </p:cNvPr>
            <p:cNvSpPr txBox="1"/>
            <p:nvPr/>
          </p:nvSpPr>
          <p:spPr>
            <a:xfrm>
              <a:off x="7085996" y="4031391"/>
              <a:ext cx="1330434" cy="30798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defTabSz="412750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400" b="1" kern="0" dirty="0">
                  <a:solidFill>
                    <a:srgbClr val="0075A6"/>
                  </a:solidFill>
                  <a:cs typeface="Arial" panose="020B0604020202020204" pitchFamily="34" charset="0"/>
                  <a:sym typeface="Helvetica Light"/>
                </a:rPr>
                <a:t>59</a:t>
              </a:r>
              <a:r>
                <a:rPr lang="en-US" sz="1400" b="1" kern="0" dirty="0">
                  <a:solidFill>
                    <a:srgbClr val="0075A6"/>
                  </a:solidFill>
                  <a:cs typeface="Arial" panose="020B0604020202020204" pitchFamily="34" charset="0"/>
                  <a:sym typeface="Helvetica Light"/>
                </a:rPr>
                <a:t> </a:t>
              </a:r>
              <a:r>
                <a:rPr lang="uz-Cyrl-UZ" sz="1400" b="1" kern="0" dirty="0">
                  <a:solidFill>
                    <a:srgbClr val="0075A6"/>
                  </a:solidFill>
                  <a:cs typeface="Arial" panose="020B0604020202020204" pitchFamily="34" charset="0"/>
                  <a:sym typeface="Helvetica Light"/>
                </a:rPr>
                <a:t>503</a:t>
              </a:r>
              <a:endParaRPr lang="en-US" sz="1400" b="1" kern="0" dirty="0">
                <a:solidFill>
                  <a:srgbClr val="0075A6"/>
                </a:solidFill>
                <a:cs typeface="Arial" panose="020B0604020202020204" pitchFamily="34" charset="0"/>
                <a:sym typeface="Helvetica Light"/>
              </a:endParaRPr>
            </a:p>
          </p:txBody>
        </p:sp>
        <p:sp>
          <p:nvSpPr>
            <p:cNvPr id="152" name="TextBox 151">
              <a:extLst>
                <a:ext uri="{FF2B5EF4-FFF2-40B4-BE49-F238E27FC236}">
                  <a16:creationId xmlns:a16="http://schemas.microsoft.com/office/drawing/2014/main" id="{BCE2B47A-13F8-413C-BCE4-BF94B413A303}"/>
                </a:ext>
              </a:extLst>
            </p:cNvPr>
            <p:cNvSpPr txBox="1"/>
            <p:nvPr/>
          </p:nvSpPr>
          <p:spPr>
            <a:xfrm>
              <a:off x="6745717" y="4329848"/>
              <a:ext cx="2220178" cy="25400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050" b="1" dirty="0">
                  <a:solidFill>
                    <a:srgbClr val="0075A6"/>
                  </a:solidFill>
                  <a:cs typeface="Arial" panose="020B0604020202020204" pitchFamily="34" charset="0"/>
                </a:rPr>
                <a:t>Техникум</a:t>
              </a:r>
              <a:endParaRPr lang="ru-RU" sz="1000" b="1" dirty="0">
                <a:solidFill>
                  <a:srgbClr val="0075A6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53" name="TextBox 152">
            <a:extLst>
              <a:ext uri="{FF2B5EF4-FFF2-40B4-BE49-F238E27FC236}">
                <a16:creationId xmlns:a16="http://schemas.microsoft.com/office/drawing/2014/main" id="{E9AD6F05-2705-4D34-B367-BF3FF6061D4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03913" y="1079500"/>
            <a:ext cx="1169987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ru-RU" b="1">
                <a:solidFill>
                  <a:srgbClr val="FF0000"/>
                </a:solidFill>
                <a:cs typeface="Arial" panose="020B0604020202020204" pitchFamily="34" charset="0"/>
              </a:rPr>
              <a:t>1</a:t>
            </a:r>
            <a:r>
              <a:rPr lang="uz-Cyrl-UZ" altLang="ru-RU" b="1">
                <a:solidFill>
                  <a:srgbClr val="FF0000"/>
                </a:solidFill>
                <a:cs typeface="Arial" panose="020B0604020202020204" pitchFamily="34" charset="0"/>
              </a:rPr>
              <a:t>93 592</a:t>
            </a:r>
            <a:endParaRPr lang="ru-RU" altLang="ru-RU" b="1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155" name="TextBox 154">
            <a:extLst>
              <a:ext uri="{FF2B5EF4-FFF2-40B4-BE49-F238E27FC236}">
                <a16:creationId xmlns:a16="http://schemas.microsoft.com/office/drawing/2014/main" id="{4288CEF8-024B-4CA4-BF29-5277F5007C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56250" y="2633663"/>
            <a:ext cx="186690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uz-Cyrl-UZ" altLang="ru-RU" b="1">
                <a:solidFill>
                  <a:srgbClr val="002060"/>
                </a:solidFill>
                <a:cs typeface="Arial" panose="020B0604020202020204" pitchFamily="34" charset="0"/>
              </a:rPr>
              <a:t>в 2023 году</a:t>
            </a:r>
            <a:endParaRPr lang="ru-RU" altLang="ru-RU" b="1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sp>
        <p:nvSpPr>
          <p:cNvPr id="172" name="Прямоугольник 171">
            <a:extLst>
              <a:ext uri="{FF2B5EF4-FFF2-40B4-BE49-F238E27FC236}">
                <a16:creationId xmlns:a16="http://schemas.microsoft.com/office/drawing/2014/main" id="{69E0EA17-1186-471B-9A12-AD8A07CCDE44}"/>
              </a:ext>
            </a:extLst>
          </p:cNvPr>
          <p:cNvSpPr/>
          <p:nvPr/>
        </p:nvSpPr>
        <p:spPr>
          <a:xfrm>
            <a:off x="4686300" y="3201988"/>
            <a:ext cx="3932238" cy="35194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 eaLnBrk="1" fontAlgn="auto" hangingPunct="1">
              <a:spcAft>
                <a:spcPts val="0"/>
              </a:spcAft>
              <a:defRPr/>
            </a:pPr>
            <a:endParaRPr lang="ru-RU" sz="1300" b="1" dirty="0">
              <a:solidFill>
                <a:srgbClr val="FFC000"/>
              </a:solidFill>
              <a:cs typeface="Arial" panose="020B0604020202020204" pitchFamily="34" charset="0"/>
            </a:endParaRP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77AAC505-518E-44B3-933C-DEBD21C2283D}"/>
              </a:ext>
            </a:extLst>
          </p:cNvPr>
          <p:cNvSpPr txBox="1"/>
          <p:nvPr/>
        </p:nvSpPr>
        <p:spPr>
          <a:xfrm>
            <a:off x="4627563" y="3246438"/>
            <a:ext cx="3875087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2128" b="1" i="0" u="none" strike="noStrike" kern="1200" cap="all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uz-Cyrl-UZ" sz="1200" b="1" cap="all" dirty="0">
                <a:solidFill>
                  <a:srgbClr val="002060"/>
                </a:solidFill>
                <a:latin typeface="+mn-lt"/>
              </a:rPr>
              <a:t>Вакан</a:t>
            </a:r>
            <a:r>
              <a:rPr lang="en-US" sz="1200" b="1" cap="all" dirty="0">
                <a:solidFill>
                  <a:srgbClr val="002060"/>
                </a:solidFill>
                <a:latin typeface="+mn-lt"/>
              </a:rPr>
              <a:t>c</a:t>
            </a:r>
            <a:r>
              <a:rPr lang="uz-Cyrl-UZ" sz="1200" b="1" cap="all" dirty="0">
                <a:solidFill>
                  <a:srgbClr val="002060"/>
                </a:solidFill>
                <a:latin typeface="+mn-lt"/>
              </a:rPr>
              <a:t>ии</a:t>
            </a:r>
            <a:endParaRPr lang="ru-RU" sz="1200" b="1" cap="all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74" name="Прямоугольник 173">
            <a:extLst>
              <a:ext uri="{FF2B5EF4-FFF2-40B4-BE49-F238E27FC236}">
                <a16:creationId xmlns:a16="http://schemas.microsoft.com/office/drawing/2014/main" id="{5082D294-1F63-4F35-8408-7D5B1AAAB09F}"/>
              </a:ext>
            </a:extLst>
          </p:cNvPr>
          <p:cNvSpPr/>
          <p:nvPr/>
        </p:nvSpPr>
        <p:spPr>
          <a:xfrm>
            <a:off x="8805863" y="3201988"/>
            <a:ext cx="3233737" cy="35194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 eaLnBrk="1" fontAlgn="auto" hangingPunct="1">
              <a:spcAft>
                <a:spcPts val="0"/>
              </a:spcAft>
              <a:defRPr/>
            </a:pPr>
            <a:endParaRPr lang="ru-RU" sz="1300" b="1" dirty="0">
              <a:solidFill>
                <a:srgbClr val="FFC000"/>
              </a:solidFill>
              <a:cs typeface="Arial" panose="020B0604020202020204" pitchFamily="34" charset="0"/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E83771AA-D9FB-40CF-A1AD-3F3B01BC132B}"/>
              </a:ext>
            </a:extLst>
          </p:cNvPr>
          <p:cNvSpPr txBox="1"/>
          <p:nvPr/>
        </p:nvSpPr>
        <p:spPr>
          <a:xfrm>
            <a:off x="8805863" y="3246438"/>
            <a:ext cx="3233737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2128" b="1" i="0" u="none" strike="noStrike" kern="1200" cap="all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ru-RU" sz="1200" b="1" cap="all" dirty="0">
                <a:solidFill>
                  <a:srgbClr val="002060"/>
                </a:solidFill>
                <a:latin typeface="+mn-lt"/>
              </a:rPr>
              <a:t>Потребности вакансии</a:t>
            </a:r>
          </a:p>
        </p:txBody>
      </p:sp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89CC6EE8-4945-4B46-849A-1F57883280C0}"/>
              </a:ext>
            </a:extLst>
          </p:cNvPr>
          <p:cNvGrpSpPr>
            <a:grpSpLocks/>
          </p:cNvGrpSpPr>
          <p:nvPr/>
        </p:nvGrpSpPr>
        <p:grpSpPr bwMode="auto">
          <a:xfrm>
            <a:off x="4905375" y="5275263"/>
            <a:ext cx="1066800" cy="1066800"/>
            <a:chOff x="4905273" y="5275219"/>
            <a:chExt cx="1066477" cy="1066477"/>
          </a:xfrm>
        </p:grpSpPr>
        <p:grpSp>
          <p:nvGrpSpPr>
            <p:cNvPr id="32844" name="Группа 176">
              <a:extLst>
                <a:ext uri="{FF2B5EF4-FFF2-40B4-BE49-F238E27FC236}">
                  <a16:creationId xmlns:a16="http://schemas.microsoft.com/office/drawing/2014/main" id="{AE5B5934-10F3-4CFA-B0BD-38E6E0DAA10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905273" y="5275219"/>
              <a:ext cx="1066477" cy="1066477"/>
              <a:chOff x="6023851" y="3580796"/>
              <a:chExt cx="1256124" cy="1256124"/>
            </a:xfrm>
          </p:grpSpPr>
          <p:sp>
            <p:nvSpPr>
              <p:cNvPr id="178" name="Овал 177">
                <a:extLst>
                  <a:ext uri="{FF2B5EF4-FFF2-40B4-BE49-F238E27FC236}">
                    <a16:creationId xmlns:a16="http://schemas.microsoft.com/office/drawing/2014/main" id="{AB9AA116-42FD-4C81-A81C-54C8E68B3A85}"/>
                  </a:ext>
                </a:extLst>
              </p:cNvPr>
              <p:cNvSpPr/>
              <p:nvPr/>
            </p:nvSpPr>
            <p:spPr>
              <a:xfrm>
                <a:off x="6023851" y="3580796"/>
                <a:ext cx="1256124" cy="1256124"/>
              </a:xfrm>
              <a:prstGeom prst="ellipse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179" name="Овал 178">
                <a:extLst>
                  <a:ext uri="{FF2B5EF4-FFF2-40B4-BE49-F238E27FC236}">
                    <a16:creationId xmlns:a16="http://schemas.microsoft.com/office/drawing/2014/main" id="{B797063A-0CAB-475E-9D70-97FC17BE0BF8}"/>
                  </a:ext>
                </a:extLst>
              </p:cNvPr>
              <p:cNvSpPr/>
              <p:nvPr/>
            </p:nvSpPr>
            <p:spPr>
              <a:xfrm>
                <a:off x="6122921" y="3679865"/>
                <a:ext cx="1057985" cy="105798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solidFill>
                    <a:schemeClr val="tx2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  <p:sp>
          <p:nvSpPr>
            <p:cNvPr id="183" name="Прямоугольник 182">
              <a:extLst>
                <a:ext uri="{FF2B5EF4-FFF2-40B4-BE49-F238E27FC236}">
                  <a16:creationId xmlns:a16="http://schemas.microsoft.com/office/drawing/2014/main" id="{18A4296C-BE25-496C-BF77-8685B7A6B82F}"/>
                </a:ext>
              </a:extLst>
            </p:cNvPr>
            <p:cNvSpPr/>
            <p:nvPr/>
          </p:nvSpPr>
          <p:spPr>
            <a:xfrm>
              <a:off x="4927491" y="5624363"/>
              <a:ext cx="1022040" cy="3681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600" b="1" dirty="0">
                  <a:solidFill>
                    <a:srgbClr val="002060"/>
                  </a:solidFill>
                  <a:cs typeface="Arial" panose="020B0604020202020204" pitchFamily="34" charset="0"/>
                </a:rPr>
                <a:t>93 467</a:t>
              </a:r>
              <a:endParaRPr lang="ru-RU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B7E5BB41-3A3A-441A-A137-FB604DCF6805}"/>
              </a:ext>
            </a:extLst>
          </p:cNvPr>
          <p:cNvGrpSpPr>
            <a:grpSpLocks/>
          </p:cNvGrpSpPr>
          <p:nvPr/>
        </p:nvGrpSpPr>
        <p:grpSpPr bwMode="auto">
          <a:xfrm>
            <a:off x="7094538" y="5275263"/>
            <a:ext cx="1066800" cy="1066800"/>
            <a:chOff x="7094296" y="5275219"/>
            <a:chExt cx="1066477" cy="1066477"/>
          </a:xfrm>
        </p:grpSpPr>
        <p:grpSp>
          <p:nvGrpSpPr>
            <p:cNvPr id="32840" name="Группа 179">
              <a:extLst>
                <a:ext uri="{FF2B5EF4-FFF2-40B4-BE49-F238E27FC236}">
                  <a16:creationId xmlns:a16="http://schemas.microsoft.com/office/drawing/2014/main" id="{0FB82528-1587-4EFD-8912-7003833B1CB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094296" y="5275219"/>
              <a:ext cx="1066477" cy="1066477"/>
              <a:chOff x="6023851" y="3580796"/>
              <a:chExt cx="1256124" cy="1256124"/>
            </a:xfrm>
          </p:grpSpPr>
          <p:sp>
            <p:nvSpPr>
              <p:cNvPr id="181" name="Овал 180">
                <a:extLst>
                  <a:ext uri="{FF2B5EF4-FFF2-40B4-BE49-F238E27FC236}">
                    <a16:creationId xmlns:a16="http://schemas.microsoft.com/office/drawing/2014/main" id="{2CCB8238-9C4C-4A0A-891A-4E9D80E10564}"/>
                  </a:ext>
                </a:extLst>
              </p:cNvPr>
              <p:cNvSpPr/>
              <p:nvPr/>
            </p:nvSpPr>
            <p:spPr>
              <a:xfrm>
                <a:off x="6023851" y="3580796"/>
                <a:ext cx="1256124" cy="1256124"/>
              </a:xfrm>
              <a:prstGeom prst="ellipse">
                <a:avLst/>
              </a:prstGeom>
              <a:solidFill>
                <a:schemeClr val="accent6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182" name="Овал 181">
                <a:extLst>
                  <a:ext uri="{FF2B5EF4-FFF2-40B4-BE49-F238E27FC236}">
                    <a16:creationId xmlns:a16="http://schemas.microsoft.com/office/drawing/2014/main" id="{375DF4D8-6D7E-4A6B-81EA-B3546A9AB315}"/>
                  </a:ext>
                </a:extLst>
              </p:cNvPr>
              <p:cNvSpPr/>
              <p:nvPr/>
            </p:nvSpPr>
            <p:spPr>
              <a:xfrm>
                <a:off x="6122920" y="3679865"/>
                <a:ext cx="1057985" cy="105798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solidFill>
                    <a:schemeClr val="tx2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  <p:sp>
          <p:nvSpPr>
            <p:cNvPr id="184" name="Прямоугольник 183">
              <a:extLst>
                <a:ext uri="{FF2B5EF4-FFF2-40B4-BE49-F238E27FC236}">
                  <a16:creationId xmlns:a16="http://schemas.microsoft.com/office/drawing/2014/main" id="{B3D0146B-58D1-4F1A-9382-30F27EA7F3E4}"/>
                </a:ext>
              </a:extLst>
            </p:cNvPr>
            <p:cNvSpPr/>
            <p:nvPr/>
          </p:nvSpPr>
          <p:spPr>
            <a:xfrm>
              <a:off x="7116514" y="5624363"/>
              <a:ext cx="1022040" cy="36818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600" b="1" dirty="0">
                  <a:solidFill>
                    <a:srgbClr val="002060"/>
                  </a:solidFill>
                  <a:cs typeface="Arial" panose="020B0604020202020204" pitchFamily="34" charset="0"/>
                </a:rPr>
                <a:t>187 037</a:t>
              </a:r>
              <a:endParaRPr lang="ru-RU" sz="1600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186" name="Группа 185">
            <a:extLst>
              <a:ext uri="{FF2B5EF4-FFF2-40B4-BE49-F238E27FC236}">
                <a16:creationId xmlns:a16="http://schemas.microsoft.com/office/drawing/2014/main" id="{AA1EDE90-919C-40ED-8610-3F6E79D4C46A}"/>
              </a:ext>
            </a:extLst>
          </p:cNvPr>
          <p:cNvGrpSpPr>
            <a:grpSpLocks/>
          </p:cNvGrpSpPr>
          <p:nvPr/>
        </p:nvGrpSpPr>
        <p:grpSpPr bwMode="auto">
          <a:xfrm>
            <a:off x="5816600" y="3614738"/>
            <a:ext cx="1385888" cy="1200150"/>
            <a:chOff x="5956553" y="3906725"/>
            <a:chExt cx="1385547" cy="1200274"/>
          </a:xfrm>
        </p:grpSpPr>
        <p:grpSp>
          <p:nvGrpSpPr>
            <p:cNvPr id="32835" name="Группа 58">
              <a:extLst>
                <a:ext uri="{FF2B5EF4-FFF2-40B4-BE49-F238E27FC236}">
                  <a16:creationId xmlns:a16="http://schemas.microsoft.com/office/drawing/2014/main" id="{30EE8824-4CF1-4E9D-90B7-0A77DB5C233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051776" y="3906725"/>
              <a:ext cx="1200274" cy="1200274"/>
              <a:chOff x="6023851" y="3580796"/>
              <a:chExt cx="1256124" cy="1256124"/>
            </a:xfrm>
          </p:grpSpPr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id="{B6B9877E-E64C-434B-BAE2-6ABAF55103E1}"/>
                  </a:ext>
                </a:extLst>
              </p:cNvPr>
              <p:cNvSpPr/>
              <p:nvPr/>
            </p:nvSpPr>
            <p:spPr>
              <a:xfrm>
                <a:off x="6023855" y="3580796"/>
                <a:ext cx="1255686" cy="1256124"/>
              </a:xfrm>
              <a:prstGeom prst="ellipse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176" name="Овал 175">
                <a:extLst>
                  <a:ext uri="{FF2B5EF4-FFF2-40B4-BE49-F238E27FC236}">
                    <a16:creationId xmlns:a16="http://schemas.microsoft.com/office/drawing/2014/main" id="{CAF64807-2221-4C73-9376-DF2BDC261C77}"/>
                  </a:ext>
                </a:extLst>
              </p:cNvPr>
              <p:cNvSpPr/>
              <p:nvPr/>
            </p:nvSpPr>
            <p:spPr>
              <a:xfrm>
                <a:off x="6123513" y="3680488"/>
                <a:ext cx="1056370" cy="1056739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>
                  <a:solidFill>
                    <a:schemeClr val="tx2">
                      <a:lumMod val="60000"/>
                      <a:lumOff val="40000"/>
                    </a:schemeClr>
                  </a:solidFill>
                </a:endParaRPr>
              </a:p>
            </p:txBody>
          </p:sp>
        </p:grpSp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id="{733BC5D8-77AB-4986-AD6D-CF76EAA6F5DA}"/>
                </a:ext>
              </a:extLst>
            </p:cNvPr>
            <p:cNvSpPr/>
            <p:nvPr/>
          </p:nvSpPr>
          <p:spPr>
            <a:xfrm>
              <a:off x="5956553" y="4294115"/>
              <a:ext cx="1385547" cy="36833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b="1" dirty="0">
                  <a:solidFill>
                    <a:srgbClr val="002060"/>
                  </a:solidFill>
                  <a:cs typeface="Arial" panose="020B0604020202020204" pitchFamily="34" charset="0"/>
                </a:rPr>
                <a:t>2</a:t>
              </a:r>
              <a:r>
                <a:rPr lang="en-US" b="1" dirty="0">
                  <a:solidFill>
                    <a:srgbClr val="002060"/>
                  </a:solidFill>
                  <a:cs typeface="Arial" panose="020B0604020202020204" pitchFamily="34" charset="0"/>
                </a:rPr>
                <a:t>80</a:t>
              </a:r>
              <a:r>
                <a:rPr lang="uz-Cyrl-UZ" b="1" dirty="0">
                  <a:solidFill>
                    <a:srgbClr val="002060"/>
                  </a:solidFill>
                  <a:cs typeface="Arial" panose="020B0604020202020204" pitchFamily="34" charset="0"/>
                </a:rPr>
                <a:t> </a:t>
              </a:r>
              <a:r>
                <a:rPr lang="en-US" b="1" dirty="0">
                  <a:solidFill>
                    <a:srgbClr val="002060"/>
                  </a:solidFill>
                  <a:cs typeface="Arial" panose="020B0604020202020204" pitchFamily="34" charset="0"/>
                </a:rPr>
                <a:t>504</a:t>
              </a:r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5" name="TextBox 184">
              <a:extLst>
                <a:ext uri="{FF2B5EF4-FFF2-40B4-BE49-F238E27FC236}">
                  <a16:creationId xmlns:a16="http://schemas.microsoft.com/office/drawing/2014/main" id="{9EA17D7C-7A61-4FBB-83F9-CF4D589D7771}"/>
                </a:ext>
              </a:extLst>
            </p:cNvPr>
            <p:cNvSpPr txBox="1"/>
            <p:nvPr/>
          </p:nvSpPr>
          <p:spPr>
            <a:xfrm>
              <a:off x="6010515" y="4605297"/>
              <a:ext cx="1291907" cy="26196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 sz="2128" b="1" i="0" u="none" strike="noStrike" kern="1200" cap="all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+mn-lt"/>
                  <a:ea typeface="+mn-ea"/>
                  <a:cs typeface="+mn-cs"/>
                </a:defRPr>
              </a:pPr>
              <a:r>
                <a:rPr lang="uz-Cyrl-UZ" sz="1050" b="1" cap="all" dirty="0">
                  <a:solidFill>
                    <a:srgbClr val="002060"/>
                  </a:solidFill>
                  <a:latin typeface="+mn-lt"/>
                </a:rPr>
                <a:t>Всего</a:t>
              </a:r>
              <a:endParaRPr lang="ru-RU" sz="1050" b="1" cap="all" dirty="0">
                <a:solidFill>
                  <a:srgbClr val="002060"/>
                </a:solidFill>
                <a:latin typeface="+mn-lt"/>
              </a:endParaRPr>
            </a:p>
          </p:txBody>
        </p:sp>
      </p:grpSp>
      <p:sp>
        <p:nvSpPr>
          <p:cNvPr id="187" name="Стрелка вниз 186">
            <a:extLst>
              <a:ext uri="{FF2B5EF4-FFF2-40B4-BE49-F238E27FC236}">
                <a16:creationId xmlns:a16="http://schemas.microsoft.com/office/drawing/2014/main" id="{59B38B38-001F-4760-BD9F-66973DE87967}"/>
              </a:ext>
            </a:extLst>
          </p:cNvPr>
          <p:cNvSpPr/>
          <p:nvPr/>
        </p:nvSpPr>
        <p:spPr>
          <a:xfrm rot="2387622">
            <a:off x="5686425" y="4641850"/>
            <a:ext cx="463550" cy="742950"/>
          </a:xfrm>
          <a:prstGeom prst="downArrow">
            <a:avLst>
              <a:gd name="adj1" fmla="val 50000"/>
              <a:gd name="adj2" fmla="val 370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8" name="Стрелка вниз 187">
            <a:extLst>
              <a:ext uri="{FF2B5EF4-FFF2-40B4-BE49-F238E27FC236}">
                <a16:creationId xmlns:a16="http://schemas.microsoft.com/office/drawing/2014/main" id="{3A68E531-EB72-4E9F-BB38-D8FE45B168C9}"/>
              </a:ext>
            </a:extLst>
          </p:cNvPr>
          <p:cNvSpPr/>
          <p:nvPr/>
        </p:nvSpPr>
        <p:spPr>
          <a:xfrm rot="19318840">
            <a:off x="6910388" y="4633913"/>
            <a:ext cx="461962" cy="742950"/>
          </a:xfrm>
          <a:prstGeom prst="downArrow">
            <a:avLst>
              <a:gd name="adj1" fmla="val 50000"/>
              <a:gd name="adj2" fmla="val 3704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225A1B54-6693-4548-9CC8-E6848875AE33}"/>
              </a:ext>
            </a:extLst>
          </p:cNvPr>
          <p:cNvSpPr txBox="1"/>
          <p:nvPr/>
        </p:nvSpPr>
        <p:spPr>
          <a:xfrm>
            <a:off x="4433888" y="6307138"/>
            <a:ext cx="2009775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2128" b="1" i="0" u="none" strike="noStrike" kern="1200" cap="all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uz-Cyrl-UZ" sz="1100" b="1" cap="all" dirty="0">
                <a:solidFill>
                  <a:srgbClr val="002060"/>
                </a:solidFill>
                <a:latin typeface="+mn-lt"/>
              </a:rPr>
              <a:t>Гос учреждении</a:t>
            </a:r>
            <a:endParaRPr lang="ru-RU" sz="1100" b="1" cap="all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90" name="TextBox 189">
            <a:extLst>
              <a:ext uri="{FF2B5EF4-FFF2-40B4-BE49-F238E27FC236}">
                <a16:creationId xmlns:a16="http://schemas.microsoft.com/office/drawing/2014/main" id="{77EA6431-16CF-4C19-8106-FC3756F7A9CE}"/>
              </a:ext>
            </a:extLst>
          </p:cNvPr>
          <p:cNvSpPr txBox="1"/>
          <p:nvPr/>
        </p:nvSpPr>
        <p:spPr>
          <a:xfrm>
            <a:off x="6696075" y="6291263"/>
            <a:ext cx="2008188" cy="26193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2128" b="1" i="0" u="none" strike="noStrike" kern="1200" cap="all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uz-Cyrl-UZ" sz="1100" b="1" cap="all" dirty="0">
                <a:solidFill>
                  <a:srgbClr val="002060"/>
                </a:solidFill>
                <a:latin typeface="+mn-lt"/>
              </a:rPr>
              <a:t>частный сектор</a:t>
            </a:r>
            <a:endParaRPr lang="ru-RU" sz="1100" b="1" cap="all" dirty="0">
              <a:solidFill>
                <a:srgbClr val="002060"/>
              </a:solidFill>
              <a:latin typeface="+mn-lt"/>
            </a:endParaRPr>
          </a:p>
        </p:txBody>
      </p:sp>
      <p:grpSp>
        <p:nvGrpSpPr>
          <p:cNvPr id="215" name="Группа 214">
            <a:extLst>
              <a:ext uri="{FF2B5EF4-FFF2-40B4-BE49-F238E27FC236}">
                <a16:creationId xmlns:a16="http://schemas.microsoft.com/office/drawing/2014/main" id="{DE0D50E1-87A9-4195-BDFB-985173F9F263}"/>
              </a:ext>
            </a:extLst>
          </p:cNvPr>
          <p:cNvGrpSpPr>
            <a:grpSpLocks/>
          </p:cNvGrpSpPr>
          <p:nvPr/>
        </p:nvGrpSpPr>
        <p:grpSpPr bwMode="auto">
          <a:xfrm>
            <a:off x="8886825" y="3689350"/>
            <a:ext cx="3028950" cy="2797175"/>
            <a:chOff x="8886169" y="3689045"/>
            <a:chExt cx="3029609" cy="2797057"/>
          </a:xfrm>
        </p:grpSpPr>
        <p:grpSp>
          <p:nvGrpSpPr>
            <p:cNvPr id="32815" name="Группа 191">
              <a:extLst>
                <a:ext uri="{FF2B5EF4-FFF2-40B4-BE49-F238E27FC236}">
                  <a16:creationId xmlns:a16="http://schemas.microsoft.com/office/drawing/2014/main" id="{10716584-82FC-4369-9DC3-6D3CB76FAEF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955291" y="5628355"/>
              <a:ext cx="2960487" cy="857747"/>
              <a:chOff x="464462" y="5612131"/>
              <a:chExt cx="4975304" cy="958054"/>
            </a:xfrm>
          </p:grpSpPr>
          <p:grpSp>
            <p:nvGrpSpPr>
              <p:cNvPr id="32830" name="Группа 193">
                <a:extLst>
                  <a:ext uri="{FF2B5EF4-FFF2-40B4-BE49-F238E27FC236}">
                    <a16:creationId xmlns:a16="http://schemas.microsoft.com/office/drawing/2014/main" id="{9EBB5315-8413-40D7-ACA2-58573BEA2BC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64462" y="5612131"/>
                <a:ext cx="4931825" cy="958054"/>
                <a:chOff x="6258347" y="1326764"/>
                <a:chExt cx="5828879" cy="1258361"/>
              </a:xfrm>
            </p:grpSpPr>
            <p:sp>
              <p:nvSpPr>
                <p:cNvPr id="196" name="Freeform 12">
                  <a:extLst>
                    <a:ext uri="{FF2B5EF4-FFF2-40B4-BE49-F238E27FC236}">
                      <a16:creationId xmlns:a16="http://schemas.microsoft.com/office/drawing/2014/main" id="{5BD95179-3F30-4E76-ABFE-93BA623311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0800000" flipH="1">
                  <a:off x="6259823" y="1327546"/>
                  <a:ext cx="119847" cy="79181"/>
                </a:xfrm>
                <a:custGeom>
                  <a:avLst/>
                  <a:gdLst>
                    <a:gd name="T0" fmla="*/ 118 w 118"/>
                    <a:gd name="T1" fmla="*/ 79 h 79"/>
                    <a:gd name="T2" fmla="*/ 0 w 118"/>
                    <a:gd name="T3" fmla="*/ 0 h 79"/>
                    <a:gd name="T4" fmla="*/ 118 w 118"/>
                    <a:gd name="T5" fmla="*/ 0 h 79"/>
                    <a:gd name="T6" fmla="*/ 118 w 118"/>
                    <a:gd name="T7" fmla="*/ 79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8" h="79">
                      <a:moveTo>
                        <a:pt x="118" y="79"/>
                      </a:moveTo>
                      <a:lnTo>
                        <a:pt x="0" y="0"/>
                      </a:lnTo>
                      <a:lnTo>
                        <a:pt x="118" y="0"/>
                      </a:lnTo>
                      <a:lnTo>
                        <a:pt x="118" y="79"/>
                      </a:lnTo>
                      <a:close/>
                    </a:path>
                  </a:pathLst>
                </a:custGeom>
                <a:solidFill>
                  <a:srgbClr val="31BBED"/>
                </a:solidFill>
                <a:ln>
                  <a:noFill/>
                </a:ln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5073" tIns="7536" rIns="15073" bIns="7536"/>
                <a:lstStyle/>
                <a:p>
                  <a:pPr defTabSz="163316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uz-Cyrl-UZ" sz="1600" kern="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7" name="Freeform 6">
                  <a:extLst>
                    <a:ext uri="{FF2B5EF4-FFF2-40B4-BE49-F238E27FC236}">
                      <a16:creationId xmlns:a16="http://schemas.microsoft.com/office/drawing/2014/main" id="{9B88C79E-A9BD-45CB-B241-1CBED3804B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0800000" flipH="1" flipV="1">
                  <a:off x="6379670" y="1327546"/>
                  <a:ext cx="5708482" cy="1257579"/>
                </a:xfrm>
                <a:custGeom>
                  <a:avLst/>
                  <a:gdLst>
                    <a:gd name="T0" fmla="*/ 3497 w 3654"/>
                    <a:gd name="T1" fmla="*/ 536 h 536"/>
                    <a:gd name="T2" fmla="*/ 0 w 3654"/>
                    <a:gd name="T3" fmla="*/ 536 h 536"/>
                    <a:gd name="T4" fmla="*/ 0 w 3654"/>
                    <a:gd name="T5" fmla="*/ 0 h 536"/>
                    <a:gd name="T6" fmla="*/ 3497 w 3654"/>
                    <a:gd name="T7" fmla="*/ 0 h 536"/>
                    <a:gd name="T8" fmla="*/ 3654 w 3654"/>
                    <a:gd name="T9" fmla="*/ 268 h 536"/>
                    <a:gd name="T10" fmla="*/ 3497 w 3654"/>
                    <a:gd name="T11" fmla="*/ 536 h 536"/>
                    <a:gd name="connsiteX0" fmla="*/ 9570 w 9597"/>
                    <a:gd name="connsiteY0" fmla="*/ 10000 h 10000"/>
                    <a:gd name="connsiteX1" fmla="*/ 0 w 9597"/>
                    <a:gd name="connsiteY1" fmla="*/ 10000 h 10000"/>
                    <a:gd name="connsiteX2" fmla="*/ 0 w 9597"/>
                    <a:gd name="connsiteY2" fmla="*/ 0 h 10000"/>
                    <a:gd name="connsiteX3" fmla="*/ 9570 w 9597"/>
                    <a:gd name="connsiteY3" fmla="*/ 0 h 10000"/>
                    <a:gd name="connsiteX4" fmla="*/ 9597 w 9597"/>
                    <a:gd name="connsiteY4" fmla="*/ 5000 h 10000"/>
                    <a:gd name="connsiteX5" fmla="*/ 9570 w 9597"/>
                    <a:gd name="connsiteY5" fmla="*/ 10000 h 10000"/>
                    <a:gd name="connsiteX0" fmla="*/ 9972 w 9981"/>
                    <a:gd name="connsiteY0" fmla="*/ 10000 h 10000"/>
                    <a:gd name="connsiteX1" fmla="*/ 0 w 9981"/>
                    <a:gd name="connsiteY1" fmla="*/ 10000 h 10000"/>
                    <a:gd name="connsiteX2" fmla="*/ 0 w 9981"/>
                    <a:gd name="connsiteY2" fmla="*/ 0 h 10000"/>
                    <a:gd name="connsiteX3" fmla="*/ 9972 w 9981"/>
                    <a:gd name="connsiteY3" fmla="*/ 0 h 10000"/>
                    <a:gd name="connsiteX4" fmla="*/ 9981 w 9981"/>
                    <a:gd name="connsiteY4" fmla="*/ 5000 h 10000"/>
                    <a:gd name="connsiteX5" fmla="*/ 9972 w 9981"/>
                    <a:gd name="connsiteY5" fmla="*/ 10000 h 10000"/>
                    <a:gd name="connsiteX0" fmla="*/ 9991 w 10000"/>
                    <a:gd name="connsiteY0" fmla="*/ 10000 h 10000"/>
                    <a:gd name="connsiteX1" fmla="*/ 0 w 10000"/>
                    <a:gd name="connsiteY1" fmla="*/ 10000 h 10000"/>
                    <a:gd name="connsiteX2" fmla="*/ 0 w 10000"/>
                    <a:gd name="connsiteY2" fmla="*/ 0 h 10000"/>
                    <a:gd name="connsiteX3" fmla="*/ 9991 w 10000"/>
                    <a:gd name="connsiteY3" fmla="*/ 0 h 10000"/>
                    <a:gd name="connsiteX4" fmla="*/ 10000 w 10000"/>
                    <a:gd name="connsiteY4" fmla="*/ 7743 h 10000"/>
                    <a:gd name="connsiteX5" fmla="*/ 9991 w 10000"/>
                    <a:gd name="connsiteY5" fmla="*/ 10000 h 10000"/>
                    <a:gd name="connsiteX0" fmla="*/ 9991 w 9994"/>
                    <a:gd name="connsiteY0" fmla="*/ 10000 h 10000"/>
                    <a:gd name="connsiteX1" fmla="*/ 0 w 9994"/>
                    <a:gd name="connsiteY1" fmla="*/ 10000 h 10000"/>
                    <a:gd name="connsiteX2" fmla="*/ 0 w 9994"/>
                    <a:gd name="connsiteY2" fmla="*/ 0 h 10000"/>
                    <a:gd name="connsiteX3" fmla="*/ 9991 w 9994"/>
                    <a:gd name="connsiteY3" fmla="*/ 0 h 10000"/>
                    <a:gd name="connsiteX4" fmla="*/ 9994 w 9994"/>
                    <a:gd name="connsiteY4" fmla="*/ 4921 h 10000"/>
                    <a:gd name="connsiteX5" fmla="*/ 9991 w 9994"/>
                    <a:gd name="connsiteY5" fmla="*/ 10000 h 10000"/>
                    <a:gd name="connsiteX0" fmla="*/ 9997 w 10000"/>
                    <a:gd name="connsiteY0" fmla="*/ 10000 h 10000"/>
                    <a:gd name="connsiteX1" fmla="*/ 0 w 10000"/>
                    <a:gd name="connsiteY1" fmla="*/ 10000 h 10000"/>
                    <a:gd name="connsiteX2" fmla="*/ 0 w 10000"/>
                    <a:gd name="connsiteY2" fmla="*/ 0 h 10000"/>
                    <a:gd name="connsiteX3" fmla="*/ 9997 w 10000"/>
                    <a:gd name="connsiteY3" fmla="*/ 0 h 10000"/>
                    <a:gd name="connsiteX4" fmla="*/ 10000 w 10000"/>
                    <a:gd name="connsiteY4" fmla="*/ 4921 h 10000"/>
                    <a:gd name="connsiteX5" fmla="*/ 9997 w 10000"/>
                    <a:gd name="connsiteY5" fmla="*/ 10000 h 10000"/>
                    <a:gd name="connsiteX0" fmla="*/ 9997 w 9999"/>
                    <a:gd name="connsiteY0" fmla="*/ 10000 h 10000"/>
                    <a:gd name="connsiteX1" fmla="*/ 0 w 9999"/>
                    <a:gd name="connsiteY1" fmla="*/ 10000 h 10000"/>
                    <a:gd name="connsiteX2" fmla="*/ 0 w 9999"/>
                    <a:gd name="connsiteY2" fmla="*/ 0 h 10000"/>
                    <a:gd name="connsiteX3" fmla="*/ 9997 w 9999"/>
                    <a:gd name="connsiteY3" fmla="*/ 0 h 10000"/>
                    <a:gd name="connsiteX4" fmla="*/ 9994 w 9999"/>
                    <a:gd name="connsiteY4" fmla="*/ 4921 h 10000"/>
                    <a:gd name="connsiteX5" fmla="*/ 9997 w 9999"/>
                    <a:gd name="connsiteY5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999" h="10000">
                      <a:moveTo>
                        <a:pt x="9997" y="10000"/>
                      </a:moveTo>
                      <a:lnTo>
                        <a:pt x="0" y="10000"/>
                      </a:lnTo>
                      <a:lnTo>
                        <a:pt x="0" y="0"/>
                      </a:lnTo>
                      <a:lnTo>
                        <a:pt x="9997" y="0"/>
                      </a:lnTo>
                      <a:cubicBezTo>
                        <a:pt x="10006" y="1667"/>
                        <a:pt x="9985" y="3254"/>
                        <a:pt x="9994" y="4921"/>
                      </a:cubicBezTo>
                      <a:cubicBezTo>
                        <a:pt x="9985" y="6588"/>
                        <a:pt x="10006" y="8333"/>
                        <a:pt x="9997" y="1000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5073" tIns="7536" rIns="15073" bIns="7536" anchor="ctr"/>
                <a:lstStyle/>
                <a:p>
                  <a:pPr marL="541349" algn="just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uz-Cyrl-UZ" sz="1400" b="1" dirty="0"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98" name="Freeform 7">
                  <a:extLst>
                    <a:ext uri="{FF2B5EF4-FFF2-40B4-BE49-F238E27FC236}">
                      <a16:creationId xmlns:a16="http://schemas.microsoft.com/office/drawing/2014/main" id="{58B2BCED-9368-4EC8-9A10-7B1D84CF84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0800000" flipH="1" flipV="1">
                  <a:off x="6259823" y="1406727"/>
                  <a:ext cx="1472852" cy="1029352"/>
                </a:xfrm>
                <a:custGeom>
                  <a:avLst/>
                  <a:gdLst>
                    <a:gd name="T0" fmla="*/ 891 w 1047"/>
                    <a:gd name="T1" fmla="*/ 536 h 536"/>
                    <a:gd name="T2" fmla="*/ 0 w 1047"/>
                    <a:gd name="T3" fmla="*/ 536 h 536"/>
                    <a:gd name="T4" fmla="*/ 0 w 1047"/>
                    <a:gd name="T5" fmla="*/ 0 h 536"/>
                    <a:gd name="T6" fmla="*/ 891 w 1047"/>
                    <a:gd name="T7" fmla="*/ 0 h 536"/>
                    <a:gd name="T8" fmla="*/ 1047 w 1047"/>
                    <a:gd name="T9" fmla="*/ 268 h 536"/>
                    <a:gd name="T10" fmla="*/ 891 w 1047"/>
                    <a:gd name="T11" fmla="*/ 536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47" h="536">
                      <a:moveTo>
                        <a:pt x="891" y="536"/>
                      </a:moveTo>
                      <a:lnTo>
                        <a:pt x="0" y="536"/>
                      </a:lnTo>
                      <a:lnTo>
                        <a:pt x="0" y="0"/>
                      </a:lnTo>
                      <a:lnTo>
                        <a:pt x="891" y="0"/>
                      </a:lnTo>
                      <a:lnTo>
                        <a:pt x="1047" y="268"/>
                      </a:lnTo>
                      <a:lnTo>
                        <a:pt x="891" y="536"/>
                      </a:lnTo>
                      <a:close/>
                    </a:path>
                  </a:pathLst>
                </a:custGeom>
                <a:solidFill>
                  <a:srgbClr val="31BBED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5073" tIns="7536" rIns="15073" bIns="7536"/>
                <a:lstStyle/>
                <a:p>
                  <a:pPr defTabSz="163316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uz-Cyrl-UZ" sz="1600" kern="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195" name="Прямоугольник 194">
                <a:extLst>
                  <a:ext uri="{FF2B5EF4-FFF2-40B4-BE49-F238E27FC236}">
                    <a16:creationId xmlns:a16="http://schemas.microsoft.com/office/drawing/2014/main" id="{934B3F13-4190-44A4-9465-2CB3A6133238}"/>
                  </a:ext>
                </a:extLst>
              </p:cNvPr>
              <p:cNvSpPr/>
              <p:nvPr/>
            </p:nvSpPr>
            <p:spPr>
              <a:xfrm>
                <a:off x="1223561" y="5814856"/>
                <a:ext cx="4216205" cy="6188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182563"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200" b="1" dirty="0">
                    <a:solidFill>
                      <a:srgbClr val="A50050"/>
                    </a:solidFill>
                    <a:cs typeface="Arial" panose="020B0604020202020204" pitchFamily="34" charset="0"/>
                  </a:rPr>
                  <a:t>24 090</a:t>
                </a:r>
              </a:p>
              <a:p>
                <a:pPr marL="182563"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uz-Cyrl-UZ" sz="1200" b="1" dirty="0">
                    <a:solidFill>
                      <a:srgbClr val="002060"/>
                    </a:solidFill>
                    <a:cs typeface="Arial" panose="020B0604020202020204" pitchFamily="34" charset="0"/>
                  </a:rPr>
                  <a:t>без специальности</a:t>
                </a:r>
                <a:endParaRPr lang="ru-RU" sz="1200" b="1" dirty="0" err="1">
                  <a:solidFill>
                    <a:srgbClr val="00206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2816" name="Группа 199">
              <a:extLst>
                <a:ext uri="{FF2B5EF4-FFF2-40B4-BE49-F238E27FC236}">
                  <a16:creationId xmlns:a16="http://schemas.microsoft.com/office/drawing/2014/main" id="{5FF29C9A-1BE9-48E4-AEB1-F85220153B8D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955291" y="3689045"/>
              <a:ext cx="2934615" cy="857749"/>
              <a:chOff x="385908" y="2828082"/>
              <a:chExt cx="4931826" cy="958057"/>
            </a:xfrm>
          </p:grpSpPr>
          <p:grpSp>
            <p:nvGrpSpPr>
              <p:cNvPr id="32825" name="Группа 201">
                <a:extLst>
                  <a:ext uri="{FF2B5EF4-FFF2-40B4-BE49-F238E27FC236}">
                    <a16:creationId xmlns:a16="http://schemas.microsoft.com/office/drawing/2014/main" id="{5F062C0D-9AD5-4135-BCFA-C67F923B11F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5908" y="2828082"/>
                <a:ext cx="4931826" cy="958057"/>
                <a:chOff x="6258347" y="1326764"/>
                <a:chExt cx="5828880" cy="1258365"/>
              </a:xfrm>
            </p:grpSpPr>
            <p:sp>
              <p:nvSpPr>
                <p:cNvPr id="204" name="Freeform 12">
                  <a:extLst>
                    <a:ext uri="{FF2B5EF4-FFF2-40B4-BE49-F238E27FC236}">
                      <a16:creationId xmlns:a16="http://schemas.microsoft.com/office/drawing/2014/main" id="{BB748507-2C46-4280-BBD2-4A6E3DC2C8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0800000" flipH="1">
                  <a:off x="6259823" y="1326764"/>
                  <a:ext cx="119847" cy="79181"/>
                </a:xfrm>
                <a:custGeom>
                  <a:avLst/>
                  <a:gdLst>
                    <a:gd name="T0" fmla="*/ 118 w 118"/>
                    <a:gd name="T1" fmla="*/ 79 h 79"/>
                    <a:gd name="T2" fmla="*/ 0 w 118"/>
                    <a:gd name="T3" fmla="*/ 0 h 79"/>
                    <a:gd name="T4" fmla="*/ 118 w 118"/>
                    <a:gd name="T5" fmla="*/ 0 h 79"/>
                    <a:gd name="T6" fmla="*/ 118 w 118"/>
                    <a:gd name="T7" fmla="*/ 79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18" h="79">
                      <a:moveTo>
                        <a:pt x="118" y="79"/>
                      </a:moveTo>
                      <a:lnTo>
                        <a:pt x="0" y="0"/>
                      </a:lnTo>
                      <a:lnTo>
                        <a:pt x="118" y="0"/>
                      </a:lnTo>
                      <a:lnTo>
                        <a:pt x="118" y="79"/>
                      </a:lnTo>
                      <a:close/>
                    </a:path>
                  </a:pathLst>
                </a:custGeom>
                <a:solidFill>
                  <a:srgbClr val="31BBED"/>
                </a:solidFill>
                <a:ln>
                  <a:noFill/>
                </a:ln>
                <a:effectLst>
                  <a:outerShdw blurRad="50800" dist="38100" dir="8100000" algn="tr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5073" tIns="7536" rIns="15073" bIns="7536"/>
                <a:lstStyle/>
                <a:p>
                  <a:pPr defTabSz="163316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uz-Cyrl-UZ" sz="1600" kern="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5" name="Freeform 6">
                  <a:extLst>
                    <a:ext uri="{FF2B5EF4-FFF2-40B4-BE49-F238E27FC236}">
                      <a16:creationId xmlns:a16="http://schemas.microsoft.com/office/drawing/2014/main" id="{ED9A63AC-738E-4AEB-B47F-EBCA873D9C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0800000" flipH="1" flipV="1">
                  <a:off x="6379670" y="1326764"/>
                  <a:ext cx="5708483" cy="1257580"/>
                </a:xfrm>
                <a:custGeom>
                  <a:avLst/>
                  <a:gdLst>
                    <a:gd name="T0" fmla="*/ 3497 w 3654"/>
                    <a:gd name="T1" fmla="*/ 536 h 536"/>
                    <a:gd name="T2" fmla="*/ 0 w 3654"/>
                    <a:gd name="T3" fmla="*/ 536 h 536"/>
                    <a:gd name="T4" fmla="*/ 0 w 3654"/>
                    <a:gd name="T5" fmla="*/ 0 h 536"/>
                    <a:gd name="T6" fmla="*/ 3497 w 3654"/>
                    <a:gd name="T7" fmla="*/ 0 h 536"/>
                    <a:gd name="T8" fmla="*/ 3654 w 3654"/>
                    <a:gd name="T9" fmla="*/ 268 h 536"/>
                    <a:gd name="T10" fmla="*/ 3497 w 3654"/>
                    <a:gd name="T11" fmla="*/ 536 h 536"/>
                    <a:gd name="connsiteX0" fmla="*/ 9570 w 9597"/>
                    <a:gd name="connsiteY0" fmla="*/ 10000 h 10000"/>
                    <a:gd name="connsiteX1" fmla="*/ 0 w 9597"/>
                    <a:gd name="connsiteY1" fmla="*/ 10000 h 10000"/>
                    <a:gd name="connsiteX2" fmla="*/ 0 w 9597"/>
                    <a:gd name="connsiteY2" fmla="*/ 0 h 10000"/>
                    <a:gd name="connsiteX3" fmla="*/ 9570 w 9597"/>
                    <a:gd name="connsiteY3" fmla="*/ 0 h 10000"/>
                    <a:gd name="connsiteX4" fmla="*/ 9597 w 9597"/>
                    <a:gd name="connsiteY4" fmla="*/ 5000 h 10000"/>
                    <a:gd name="connsiteX5" fmla="*/ 9570 w 9597"/>
                    <a:gd name="connsiteY5" fmla="*/ 10000 h 10000"/>
                    <a:gd name="connsiteX0" fmla="*/ 9972 w 9981"/>
                    <a:gd name="connsiteY0" fmla="*/ 10000 h 10000"/>
                    <a:gd name="connsiteX1" fmla="*/ 0 w 9981"/>
                    <a:gd name="connsiteY1" fmla="*/ 10000 h 10000"/>
                    <a:gd name="connsiteX2" fmla="*/ 0 w 9981"/>
                    <a:gd name="connsiteY2" fmla="*/ 0 h 10000"/>
                    <a:gd name="connsiteX3" fmla="*/ 9972 w 9981"/>
                    <a:gd name="connsiteY3" fmla="*/ 0 h 10000"/>
                    <a:gd name="connsiteX4" fmla="*/ 9981 w 9981"/>
                    <a:gd name="connsiteY4" fmla="*/ 5000 h 10000"/>
                    <a:gd name="connsiteX5" fmla="*/ 9972 w 9981"/>
                    <a:gd name="connsiteY5" fmla="*/ 10000 h 10000"/>
                    <a:gd name="connsiteX0" fmla="*/ 9991 w 10000"/>
                    <a:gd name="connsiteY0" fmla="*/ 10000 h 10000"/>
                    <a:gd name="connsiteX1" fmla="*/ 0 w 10000"/>
                    <a:gd name="connsiteY1" fmla="*/ 10000 h 10000"/>
                    <a:gd name="connsiteX2" fmla="*/ 0 w 10000"/>
                    <a:gd name="connsiteY2" fmla="*/ 0 h 10000"/>
                    <a:gd name="connsiteX3" fmla="*/ 9991 w 10000"/>
                    <a:gd name="connsiteY3" fmla="*/ 0 h 10000"/>
                    <a:gd name="connsiteX4" fmla="*/ 10000 w 10000"/>
                    <a:gd name="connsiteY4" fmla="*/ 7743 h 10000"/>
                    <a:gd name="connsiteX5" fmla="*/ 9991 w 10000"/>
                    <a:gd name="connsiteY5" fmla="*/ 10000 h 10000"/>
                    <a:gd name="connsiteX0" fmla="*/ 9991 w 9994"/>
                    <a:gd name="connsiteY0" fmla="*/ 10000 h 10000"/>
                    <a:gd name="connsiteX1" fmla="*/ 0 w 9994"/>
                    <a:gd name="connsiteY1" fmla="*/ 10000 h 10000"/>
                    <a:gd name="connsiteX2" fmla="*/ 0 w 9994"/>
                    <a:gd name="connsiteY2" fmla="*/ 0 h 10000"/>
                    <a:gd name="connsiteX3" fmla="*/ 9991 w 9994"/>
                    <a:gd name="connsiteY3" fmla="*/ 0 h 10000"/>
                    <a:gd name="connsiteX4" fmla="*/ 9994 w 9994"/>
                    <a:gd name="connsiteY4" fmla="*/ 4921 h 10000"/>
                    <a:gd name="connsiteX5" fmla="*/ 9991 w 9994"/>
                    <a:gd name="connsiteY5" fmla="*/ 10000 h 10000"/>
                    <a:gd name="connsiteX0" fmla="*/ 9997 w 10000"/>
                    <a:gd name="connsiteY0" fmla="*/ 10000 h 10000"/>
                    <a:gd name="connsiteX1" fmla="*/ 0 w 10000"/>
                    <a:gd name="connsiteY1" fmla="*/ 10000 h 10000"/>
                    <a:gd name="connsiteX2" fmla="*/ 0 w 10000"/>
                    <a:gd name="connsiteY2" fmla="*/ 0 h 10000"/>
                    <a:gd name="connsiteX3" fmla="*/ 9997 w 10000"/>
                    <a:gd name="connsiteY3" fmla="*/ 0 h 10000"/>
                    <a:gd name="connsiteX4" fmla="*/ 10000 w 10000"/>
                    <a:gd name="connsiteY4" fmla="*/ 4921 h 10000"/>
                    <a:gd name="connsiteX5" fmla="*/ 9997 w 10000"/>
                    <a:gd name="connsiteY5" fmla="*/ 10000 h 10000"/>
                    <a:gd name="connsiteX0" fmla="*/ 9997 w 9999"/>
                    <a:gd name="connsiteY0" fmla="*/ 10000 h 10000"/>
                    <a:gd name="connsiteX1" fmla="*/ 0 w 9999"/>
                    <a:gd name="connsiteY1" fmla="*/ 10000 h 10000"/>
                    <a:gd name="connsiteX2" fmla="*/ 0 w 9999"/>
                    <a:gd name="connsiteY2" fmla="*/ 0 h 10000"/>
                    <a:gd name="connsiteX3" fmla="*/ 9997 w 9999"/>
                    <a:gd name="connsiteY3" fmla="*/ 0 h 10000"/>
                    <a:gd name="connsiteX4" fmla="*/ 9994 w 9999"/>
                    <a:gd name="connsiteY4" fmla="*/ 4921 h 10000"/>
                    <a:gd name="connsiteX5" fmla="*/ 9997 w 9999"/>
                    <a:gd name="connsiteY5" fmla="*/ 1000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9999" h="10000">
                      <a:moveTo>
                        <a:pt x="9997" y="10000"/>
                      </a:moveTo>
                      <a:lnTo>
                        <a:pt x="0" y="10000"/>
                      </a:lnTo>
                      <a:lnTo>
                        <a:pt x="0" y="0"/>
                      </a:lnTo>
                      <a:lnTo>
                        <a:pt x="9997" y="0"/>
                      </a:lnTo>
                      <a:cubicBezTo>
                        <a:pt x="10006" y="1667"/>
                        <a:pt x="9985" y="3254"/>
                        <a:pt x="9994" y="4921"/>
                      </a:cubicBezTo>
                      <a:cubicBezTo>
                        <a:pt x="9985" y="6588"/>
                        <a:pt x="10006" y="8333"/>
                        <a:pt x="9997" y="1000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5073" tIns="7536" rIns="15073" bIns="7536" anchor="ctr"/>
                <a:lstStyle/>
                <a:p>
                  <a:pPr marL="541349" algn="just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uz-Cyrl-UZ" sz="1400" b="1" dirty="0"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06" name="Freeform 7">
                  <a:extLst>
                    <a:ext uri="{FF2B5EF4-FFF2-40B4-BE49-F238E27FC236}">
                      <a16:creationId xmlns:a16="http://schemas.microsoft.com/office/drawing/2014/main" id="{C500F79A-57DE-465E-A037-5C2A0310B2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 rot="10800000" flipH="1" flipV="1">
                  <a:off x="6259823" y="1405945"/>
                  <a:ext cx="1472853" cy="1029353"/>
                </a:xfrm>
                <a:custGeom>
                  <a:avLst/>
                  <a:gdLst>
                    <a:gd name="T0" fmla="*/ 891 w 1047"/>
                    <a:gd name="T1" fmla="*/ 536 h 536"/>
                    <a:gd name="T2" fmla="*/ 0 w 1047"/>
                    <a:gd name="T3" fmla="*/ 536 h 536"/>
                    <a:gd name="T4" fmla="*/ 0 w 1047"/>
                    <a:gd name="T5" fmla="*/ 0 h 536"/>
                    <a:gd name="T6" fmla="*/ 891 w 1047"/>
                    <a:gd name="T7" fmla="*/ 0 h 536"/>
                    <a:gd name="T8" fmla="*/ 1047 w 1047"/>
                    <a:gd name="T9" fmla="*/ 268 h 536"/>
                    <a:gd name="T10" fmla="*/ 891 w 1047"/>
                    <a:gd name="T11" fmla="*/ 536 h 5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47" h="536">
                      <a:moveTo>
                        <a:pt x="891" y="536"/>
                      </a:moveTo>
                      <a:lnTo>
                        <a:pt x="0" y="536"/>
                      </a:lnTo>
                      <a:lnTo>
                        <a:pt x="0" y="0"/>
                      </a:lnTo>
                      <a:lnTo>
                        <a:pt x="891" y="0"/>
                      </a:lnTo>
                      <a:lnTo>
                        <a:pt x="1047" y="268"/>
                      </a:lnTo>
                      <a:lnTo>
                        <a:pt x="891" y="536"/>
                      </a:lnTo>
                      <a:close/>
                    </a:path>
                  </a:pathLst>
                </a:custGeom>
                <a:solidFill>
                  <a:srgbClr val="31BBED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lIns="15073" tIns="7536" rIns="15073" bIns="7536"/>
                <a:lstStyle/>
                <a:p>
                  <a:pPr defTabSz="163316"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uz-Cyrl-UZ" sz="1600" kern="0">
                    <a:solidFill>
                      <a:prstClr val="black"/>
                    </a:solidFill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203" name="Прямоугольник 202">
                <a:extLst>
                  <a:ext uri="{FF2B5EF4-FFF2-40B4-BE49-F238E27FC236}">
                    <a16:creationId xmlns:a16="http://schemas.microsoft.com/office/drawing/2014/main" id="{32354290-2207-4437-99DB-07F9C35C3164}"/>
                  </a:ext>
                </a:extLst>
              </p:cNvPr>
              <p:cNvSpPr/>
              <p:nvPr/>
            </p:nvSpPr>
            <p:spPr>
              <a:xfrm>
                <a:off x="1190372" y="3030212"/>
                <a:ext cx="4120141" cy="618803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182563"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ru-RU" sz="1200" b="1" dirty="0">
                    <a:solidFill>
                      <a:srgbClr val="A50050"/>
                    </a:solidFill>
                    <a:cs typeface="Arial" panose="020B0604020202020204" pitchFamily="34" charset="0"/>
                  </a:rPr>
                  <a:t>138 790</a:t>
                </a:r>
                <a:r>
                  <a:rPr lang="en-US" sz="1200" b="1" dirty="0">
                    <a:solidFill>
                      <a:srgbClr val="A50050"/>
                    </a:solidFill>
                    <a:cs typeface="Arial" panose="020B0604020202020204" pitchFamily="34" charset="0"/>
                  </a:rPr>
                  <a:t> </a:t>
                </a:r>
                <a:r>
                  <a:rPr lang="ru-RU" sz="1200" b="1" dirty="0">
                    <a:solidFill>
                      <a:srgbClr val="A50050"/>
                    </a:solidFill>
                    <a:cs typeface="Arial" panose="020B0604020202020204" pitchFamily="34" charset="0"/>
                  </a:rPr>
                  <a:t/>
                </a:r>
                <a:br>
                  <a:rPr lang="ru-RU" sz="1200" b="1" dirty="0">
                    <a:solidFill>
                      <a:srgbClr val="A50050"/>
                    </a:solidFill>
                    <a:cs typeface="Arial" panose="020B0604020202020204" pitchFamily="34" charset="0"/>
                  </a:rPr>
                </a:br>
                <a:r>
                  <a:rPr lang="uz-Cyrl-UZ" sz="1200" b="1" dirty="0">
                    <a:solidFill>
                      <a:srgbClr val="002060"/>
                    </a:solidFill>
                    <a:cs typeface="Arial" panose="020B0604020202020204" pitchFamily="34" charset="0"/>
                  </a:rPr>
                  <a:t>высшее образование</a:t>
                </a:r>
                <a:endParaRPr lang="ru-RU" sz="1200" b="1" dirty="0" err="1">
                  <a:solidFill>
                    <a:srgbClr val="002060"/>
                  </a:solidFill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2817" name="Группа 209">
              <a:extLst>
                <a:ext uri="{FF2B5EF4-FFF2-40B4-BE49-F238E27FC236}">
                  <a16:creationId xmlns:a16="http://schemas.microsoft.com/office/drawing/2014/main" id="{5CF77DDF-714E-4582-8B0B-3D607EE5BA0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955291" y="4658701"/>
              <a:ext cx="2934615" cy="857747"/>
              <a:chOff x="6258347" y="1326764"/>
              <a:chExt cx="5828879" cy="1258361"/>
            </a:xfrm>
          </p:grpSpPr>
          <p:sp>
            <p:nvSpPr>
              <p:cNvPr id="212" name="Freeform 12">
                <a:extLst>
                  <a:ext uri="{FF2B5EF4-FFF2-40B4-BE49-F238E27FC236}">
                    <a16:creationId xmlns:a16="http://schemas.microsoft.com/office/drawing/2014/main" id="{AC5385B4-0BF4-4228-B070-145F16FB0CC4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H="1">
                <a:off x="6259823" y="1327154"/>
                <a:ext cx="119847" cy="79181"/>
              </a:xfrm>
              <a:custGeom>
                <a:avLst/>
                <a:gdLst>
                  <a:gd name="T0" fmla="*/ 118 w 118"/>
                  <a:gd name="T1" fmla="*/ 79 h 79"/>
                  <a:gd name="T2" fmla="*/ 0 w 118"/>
                  <a:gd name="T3" fmla="*/ 0 h 79"/>
                  <a:gd name="T4" fmla="*/ 118 w 118"/>
                  <a:gd name="T5" fmla="*/ 0 h 79"/>
                  <a:gd name="T6" fmla="*/ 118 w 118"/>
                  <a:gd name="T7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8" h="79">
                    <a:moveTo>
                      <a:pt x="118" y="79"/>
                    </a:moveTo>
                    <a:lnTo>
                      <a:pt x="0" y="0"/>
                    </a:lnTo>
                    <a:lnTo>
                      <a:pt x="118" y="0"/>
                    </a:lnTo>
                    <a:lnTo>
                      <a:pt x="118" y="79"/>
                    </a:lnTo>
                    <a:close/>
                  </a:path>
                </a:pathLst>
              </a:custGeom>
              <a:solidFill>
                <a:srgbClr val="31BBED"/>
              </a:solidFill>
              <a:ln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p:spPr>
            <p:txBody>
              <a:bodyPr lIns="15073" tIns="7536" rIns="15073" bIns="7536"/>
              <a:lstStyle/>
              <a:p>
                <a:pPr defTabSz="16331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z-Cyrl-UZ" sz="1600" kern="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13" name="Freeform 6">
                <a:extLst>
                  <a:ext uri="{FF2B5EF4-FFF2-40B4-BE49-F238E27FC236}">
                    <a16:creationId xmlns:a16="http://schemas.microsoft.com/office/drawing/2014/main" id="{5A24C58F-DEBC-49F3-89C0-8805D14CB710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H="1" flipV="1">
                <a:off x="6379670" y="1327154"/>
                <a:ext cx="5708482" cy="1257579"/>
              </a:xfrm>
              <a:custGeom>
                <a:avLst/>
                <a:gdLst>
                  <a:gd name="T0" fmla="*/ 3497 w 3654"/>
                  <a:gd name="T1" fmla="*/ 536 h 536"/>
                  <a:gd name="T2" fmla="*/ 0 w 3654"/>
                  <a:gd name="T3" fmla="*/ 536 h 536"/>
                  <a:gd name="T4" fmla="*/ 0 w 3654"/>
                  <a:gd name="T5" fmla="*/ 0 h 536"/>
                  <a:gd name="T6" fmla="*/ 3497 w 3654"/>
                  <a:gd name="T7" fmla="*/ 0 h 536"/>
                  <a:gd name="T8" fmla="*/ 3654 w 3654"/>
                  <a:gd name="T9" fmla="*/ 268 h 536"/>
                  <a:gd name="T10" fmla="*/ 3497 w 3654"/>
                  <a:gd name="T11" fmla="*/ 536 h 536"/>
                  <a:gd name="connsiteX0" fmla="*/ 9570 w 9597"/>
                  <a:gd name="connsiteY0" fmla="*/ 10000 h 10000"/>
                  <a:gd name="connsiteX1" fmla="*/ 0 w 9597"/>
                  <a:gd name="connsiteY1" fmla="*/ 10000 h 10000"/>
                  <a:gd name="connsiteX2" fmla="*/ 0 w 9597"/>
                  <a:gd name="connsiteY2" fmla="*/ 0 h 10000"/>
                  <a:gd name="connsiteX3" fmla="*/ 9570 w 9597"/>
                  <a:gd name="connsiteY3" fmla="*/ 0 h 10000"/>
                  <a:gd name="connsiteX4" fmla="*/ 9597 w 9597"/>
                  <a:gd name="connsiteY4" fmla="*/ 5000 h 10000"/>
                  <a:gd name="connsiteX5" fmla="*/ 9570 w 9597"/>
                  <a:gd name="connsiteY5" fmla="*/ 10000 h 10000"/>
                  <a:gd name="connsiteX0" fmla="*/ 9972 w 9981"/>
                  <a:gd name="connsiteY0" fmla="*/ 10000 h 10000"/>
                  <a:gd name="connsiteX1" fmla="*/ 0 w 9981"/>
                  <a:gd name="connsiteY1" fmla="*/ 10000 h 10000"/>
                  <a:gd name="connsiteX2" fmla="*/ 0 w 9981"/>
                  <a:gd name="connsiteY2" fmla="*/ 0 h 10000"/>
                  <a:gd name="connsiteX3" fmla="*/ 9972 w 9981"/>
                  <a:gd name="connsiteY3" fmla="*/ 0 h 10000"/>
                  <a:gd name="connsiteX4" fmla="*/ 9981 w 9981"/>
                  <a:gd name="connsiteY4" fmla="*/ 5000 h 10000"/>
                  <a:gd name="connsiteX5" fmla="*/ 9972 w 9981"/>
                  <a:gd name="connsiteY5" fmla="*/ 10000 h 10000"/>
                  <a:gd name="connsiteX0" fmla="*/ 9991 w 10000"/>
                  <a:gd name="connsiteY0" fmla="*/ 10000 h 10000"/>
                  <a:gd name="connsiteX1" fmla="*/ 0 w 10000"/>
                  <a:gd name="connsiteY1" fmla="*/ 10000 h 10000"/>
                  <a:gd name="connsiteX2" fmla="*/ 0 w 10000"/>
                  <a:gd name="connsiteY2" fmla="*/ 0 h 10000"/>
                  <a:gd name="connsiteX3" fmla="*/ 9991 w 10000"/>
                  <a:gd name="connsiteY3" fmla="*/ 0 h 10000"/>
                  <a:gd name="connsiteX4" fmla="*/ 10000 w 10000"/>
                  <a:gd name="connsiteY4" fmla="*/ 7743 h 10000"/>
                  <a:gd name="connsiteX5" fmla="*/ 9991 w 10000"/>
                  <a:gd name="connsiteY5" fmla="*/ 10000 h 10000"/>
                  <a:gd name="connsiteX0" fmla="*/ 9991 w 9994"/>
                  <a:gd name="connsiteY0" fmla="*/ 10000 h 10000"/>
                  <a:gd name="connsiteX1" fmla="*/ 0 w 9994"/>
                  <a:gd name="connsiteY1" fmla="*/ 10000 h 10000"/>
                  <a:gd name="connsiteX2" fmla="*/ 0 w 9994"/>
                  <a:gd name="connsiteY2" fmla="*/ 0 h 10000"/>
                  <a:gd name="connsiteX3" fmla="*/ 9991 w 9994"/>
                  <a:gd name="connsiteY3" fmla="*/ 0 h 10000"/>
                  <a:gd name="connsiteX4" fmla="*/ 9994 w 9994"/>
                  <a:gd name="connsiteY4" fmla="*/ 4921 h 10000"/>
                  <a:gd name="connsiteX5" fmla="*/ 9991 w 9994"/>
                  <a:gd name="connsiteY5" fmla="*/ 10000 h 10000"/>
                  <a:gd name="connsiteX0" fmla="*/ 9997 w 10000"/>
                  <a:gd name="connsiteY0" fmla="*/ 10000 h 10000"/>
                  <a:gd name="connsiteX1" fmla="*/ 0 w 10000"/>
                  <a:gd name="connsiteY1" fmla="*/ 10000 h 10000"/>
                  <a:gd name="connsiteX2" fmla="*/ 0 w 10000"/>
                  <a:gd name="connsiteY2" fmla="*/ 0 h 10000"/>
                  <a:gd name="connsiteX3" fmla="*/ 9997 w 10000"/>
                  <a:gd name="connsiteY3" fmla="*/ 0 h 10000"/>
                  <a:gd name="connsiteX4" fmla="*/ 10000 w 10000"/>
                  <a:gd name="connsiteY4" fmla="*/ 4921 h 10000"/>
                  <a:gd name="connsiteX5" fmla="*/ 9997 w 10000"/>
                  <a:gd name="connsiteY5" fmla="*/ 10000 h 10000"/>
                  <a:gd name="connsiteX0" fmla="*/ 9997 w 9999"/>
                  <a:gd name="connsiteY0" fmla="*/ 10000 h 10000"/>
                  <a:gd name="connsiteX1" fmla="*/ 0 w 9999"/>
                  <a:gd name="connsiteY1" fmla="*/ 10000 h 10000"/>
                  <a:gd name="connsiteX2" fmla="*/ 0 w 9999"/>
                  <a:gd name="connsiteY2" fmla="*/ 0 h 10000"/>
                  <a:gd name="connsiteX3" fmla="*/ 9997 w 9999"/>
                  <a:gd name="connsiteY3" fmla="*/ 0 h 10000"/>
                  <a:gd name="connsiteX4" fmla="*/ 9994 w 9999"/>
                  <a:gd name="connsiteY4" fmla="*/ 4921 h 10000"/>
                  <a:gd name="connsiteX5" fmla="*/ 9997 w 9999"/>
                  <a:gd name="connsiteY5" fmla="*/ 1000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9999" h="10000">
                    <a:moveTo>
                      <a:pt x="9997" y="10000"/>
                    </a:moveTo>
                    <a:lnTo>
                      <a:pt x="0" y="10000"/>
                    </a:lnTo>
                    <a:lnTo>
                      <a:pt x="0" y="0"/>
                    </a:lnTo>
                    <a:lnTo>
                      <a:pt x="9997" y="0"/>
                    </a:lnTo>
                    <a:cubicBezTo>
                      <a:pt x="10006" y="1667"/>
                      <a:pt x="9985" y="3254"/>
                      <a:pt x="9994" y="4921"/>
                    </a:cubicBezTo>
                    <a:cubicBezTo>
                      <a:pt x="9985" y="6588"/>
                      <a:pt x="10006" y="8333"/>
                      <a:pt x="9997" y="1000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5073" tIns="7536" rIns="15073" bIns="7536" anchor="ctr"/>
              <a:lstStyle/>
              <a:p>
                <a:pPr marL="541349" algn="just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z-Cyrl-UZ" sz="1400" b="1" dirty="0">
                  <a:cs typeface="Arial" panose="020B0604020202020204" pitchFamily="34" charset="0"/>
                </a:endParaRPr>
              </a:p>
            </p:txBody>
          </p:sp>
          <p:sp>
            <p:nvSpPr>
              <p:cNvPr id="214" name="Freeform 7">
                <a:extLst>
                  <a:ext uri="{FF2B5EF4-FFF2-40B4-BE49-F238E27FC236}">
                    <a16:creationId xmlns:a16="http://schemas.microsoft.com/office/drawing/2014/main" id="{62211084-155B-4081-A2D9-79D134347EE6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 flipH="1" flipV="1">
                <a:off x="6259823" y="1406335"/>
                <a:ext cx="1472852" cy="1029352"/>
              </a:xfrm>
              <a:custGeom>
                <a:avLst/>
                <a:gdLst>
                  <a:gd name="T0" fmla="*/ 891 w 1047"/>
                  <a:gd name="T1" fmla="*/ 536 h 536"/>
                  <a:gd name="T2" fmla="*/ 0 w 1047"/>
                  <a:gd name="T3" fmla="*/ 536 h 536"/>
                  <a:gd name="T4" fmla="*/ 0 w 1047"/>
                  <a:gd name="T5" fmla="*/ 0 h 536"/>
                  <a:gd name="T6" fmla="*/ 891 w 1047"/>
                  <a:gd name="T7" fmla="*/ 0 h 536"/>
                  <a:gd name="T8" fmla="*/ 1047 w 1047"/>
                  <a:gd name="T9" fmla="*/ 268 h 536"/>
                  <a:gd name="T10" fmla="*/ 891 w 1047"/>
                  <a:gd name="T11" fmla="*/ 536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47" h="536">
                    <a:moveTo>
                      <a:pt x="891" y="536"/>
                    </a:moveTo>
                    <a:lnTo>
                      <a:pt x="0" y="536"/>
                    </a:lnTo>
                    <a:lnTo>
                      <a:pt x="0" y="0"/>
                    </a:lnTo>
                    <a:lnTo>
                      <a:pt x="891" y="0"/>
                    </a:lnTo>
                    <a:lnTo>
                      <a:pt x="1047" y="268"/>
                    </a:lnTo>
                    <a:lnTo>
                      <a:pt x="891" y="536"/>
                    </a:lnTo>
                    <a:close/>
                  </a:path>
                </a:pathLst>
              </a:custGeom>
              <a:solidFill>
                <a:srgbClr val="31BBED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lIns="15073" tIns="7536" rIns="15073" bIns="7536"/>
              <a:lstStyle/>
              <a:p>
                <a:pPr defTabSz="163316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uz-Cyrl-UZ" sz="1600" kern="0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11" name="Прямоугольник 210">
              <a:extLst>
                <a:ext uri="{FF2B5EF4-FFF2-40B4-BE49-F238E27FC236}">
                  <a16:creationId xmlns:a16="http://schemas.microsoft.com/office/drawing/2014/main" id="{520201F3-0D50-4419-9811-D7AE1C33FDC1}"/>
                </a:ext>
              </a:extLst>
            </p:cNvPr>
            <p:cNvSpPr/>
            <p:nvPr/>
          </p:nvSpPr>
          <p:spPr>
            <a:xfrm>
              <a:off x="9433976" y="4839934"/>
              <a:ext cx="2451633" cy="5540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182563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>
                  <a:solidFill>
                    <a:srgbClr val="A50050"/>
                  </a:solidFill>
                  <a:cs typeface="Arial" panose="020B0604020202020204" pitchFamily="34" charset="0"/>
                </a:rPr>
                <a:t>117 624 </a:t>
              </a:r>
              <a:br>
                <a:rPr lang="ru-RU" sz="1200" b="1" dirty="0">
                  <a:solidFill>
                    <a:srgbClr val="A50050"/>
                  </a:solidFill>
                  <a:cs typeface="Arial" panose="020B0604020202020204" pitchFamily="34" charset="0"/>
                </a:rPr>
              </a:br>
              <a:r>
                <a:rPr lang="uz-Cyrl-UZ" sz="1200" b="1" dirty="0">
                  <a:solidFill>
                    <a:srgbClr val="002060"/>
                  </a:solidFill>
                  <a:cs typeface="Arial" panose="020B0604020202020204" pitchFamily="34" charset="0"/>
                </a:rPr>
                <a:t>средне-специальные</a:t>
              </a:r>
            </a:p>
          </p:txBody>
        </p:sp>
        <p:pic>
          <p:nvPicPr>
            <p:cNvPr id="32819" name="Picture 2" descr="Premium Vector | Education icon vector illustartion college cap or graduate  hat symbol student degree sign">
              <a:extLst>
                <a:ext uri="{FF2B5EF4-FFF2-40B4-BE49-F238E27FC236}">
                  <a16:creationId xmlns:a16="http://schemas.microsoft.com/office/drawing/2014/main" id="{2461357D-4DAA-4523-95DA-4CC4ED86F55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886169" y="3726988"/>
              <a:ext cx="858025" cy="6866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820" name="Picture 4" descr="Vocational - Free education icons">
              <a:extLst>
                <a:ext uri="{FF2B5EF4-FFF2-40B4-BE49-F238E27FC236}">
                  <a16:creationId xmlns:a16="http://schemas.microsoft.com/office/drawing/2014/main" id="{8A2F83FD-BD48-479A-9A2D-8515C30178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grayscl/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14334" y="4789365"/>
              <a:ext cx="573897" cy="573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821" name="Picture 6" descr="No education - Free signaling icons">
              <a:extLst>
                <a:ext uri="{FF2B5EF4-FFF2-40B4-BE49-F238E27FC236}">
                  <a16:creationId xmlns:a16="http://schemas.microsoft.com/office/drawing/2014/main" id="{4F40F076-E939-4F1D-875B-6D90AC540A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25613" y="5760747"/>
              <a:ext cx="551338" cy="5513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308EA0F0-C6BF-4A54-A618-6EC2490D94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1762" y="349250"/>
            <a:ext cx="8915401" cy="273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b="1" kern="0" dirty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</a:rPr>
              <a:t>ВЫПУСКНИКИ ПРОФЕССИОНАЛЬНЫХ ОБРАЗОВАТЕЛЬНЫХ УЧРЕЖДЕНИЙ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0D49DB5-8BE2-4AE6-B785-5F5D0DD006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4938" y="3246438"/>
            <a:ext cx="4191000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200" b="1" cap="all" dirty="0">
                <a:solidFill>
                  <a:srgbClr val="002060"/>
                </a:solidFill>
                <a:latin typeface="+mn-lt"/>
              </a:rPr>
              <a:t>Уровень занятости выпускников в 2022 г. </a:t>
            </a:r>
          </a:p>
        </p:txBody>
      </p:sp>
      <p:graphicFrame>
        <p:nvGraphicFramePr>
          <p:cNvPr id="3" name="Диаграмма 155">
            <a:extLst>
              <a:ext uri="{FF2B5EF4-FFF2-40B4-BE49-F238E27FC236}">
                <a16:creationId xmlns:a16="http://schemas.microsoft.com/office/drawing/2014/main" id="{C4C91C75-BA05-4573-A85E-1493362753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1884471"/>
              </p:ext>
            </p:extLst>
          </p:nvPr>
        </p:nvGraphicFramePr>
        <p:xfrm>
          <a:off x="411163" y="3660775"/>
          <a:ext cx="3733800" cy="2947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57" name="Прямоугольник 156">
            <a:extLst>
              <a:ext uri="{FF2B5EF4-FFF2-40B4-BE49-F238E27FC236}">
                <a16:creationId xmlns:a16="http://schemas.microsoft.com/office/drawing/2014/main" id="{55EEEB43-7193-4B93-B777-52DE5E0EABF6}"/>
              </a:ext>
            </a:extLst>
          </p:cNvPr>
          <p:cNvSpPr/>
          <p:nvPr/>
        </p:nvSpPr>
        <p:spPr>
          <a:xfrm>
            <a:off x="2724150" y="4770438"/>
            <a:ext cx="765175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z-Cyrl-UZ" sz="1600" b="1" dirty="0"/>
              <a:t>55%</a:t>
            </a:r>
            <a:endParaRPr lang="ru-RU" sz="1600" b="1" dirty="0"/>
          </a:p>
        </p:txBody>
      </p:sp>
      <p:sp>
        <p:nvSpPr>
          <p:cNvPr id="158" name="Прямоугольник 157">
            <a:extLst>
              <a:ext uri="{FF2B5EF4-FFF2-40B4-BE49-F238E27FC236}">
                <a16:creationId xmlns:a16="http://schemas.microsoft.com/office/drawing/2014/main" id="{5F665676-C999-469D-BDA6-EDC0540276EF}"/>
              </a:ext>
            </a:extLst>
          </p:cNvPr>
          <p:cNvSpPr/>
          <p:nvPr/>
        </p:nvSpPr>
        <p:spPr>
          <a:xfrm>
            <a:off x="1601788" y="4340225"/>
            <a:ext cx="669925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z-Cyrl-UZ" sz="1100" b="1" dirty="0"/>
              <a:t>19,9%</a:t>
            </a:r>
            <a:endParaRPr lang="ru-RU" sz="1100" b="1" dirty="0"/>
          </a:p>
        </p:txBody>
      </p:sp>
      <p:sp>
        <p:nvSpPr>
          <p:cNvPr id="159" name="Прямоугольник 158">
            <a:extLst>
              <a:ext uri="{FF2B5EF4-FFF2-40B4-BE49-F238E27FC236}">
                <a16:creationId xmlns:a16="http://schemas.microsoft.com/office/drawing/2014/main" id="{9B1CB442-32EF-4455-92D8-B3212CB4D22F}"/>
              </a:ext>
            </a:extLst>
          </p:cNvPr>
          <p:cNvSpPr/>
          <p:nvPr/>
        </p:nvSpPr>
        <p:spPr>
          <a:xfrm>
            <a:off x="903288" y="4740963"/>
            <a:ext cx="717550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z-Cyrl-UZ" sz="1200" b="1" dirty="0"/>
              <a:t>7,8%</a:t>
            </a:r>
            <a:endParaRPr lang="ru-RU" sz="1200" b="1" dirty="0"/>
          </a:p>
        </p:txBody>
      </p:sp>
      <p:sp>
        <p:nvSpPr>
          <p:cNvPr id="160" name="Прямоугольник 159">
            <a:extLst>
              <a:ext uri="{FF2B5EF4-FFF2-40B4-BE49-F238E27FC236}">
                <a16:creationId xmlns:a16="http://schemas.microsoft.com/office/drawing/2014/main" id="{3C5CE9AE-F9D6-447E-8E3D-529D23EA245D}"/>
              </a:ext>
            </a:extLst>
          </p:cNvPr>
          <p:cNvSpPr/>
          <p:nvPr/>
        </p:nvSpPr>
        <p:spPr>
          <a:xfrm>
            <a:off x="1067594" y="5075180"/>
            <a:ext cx="788988" cy="365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z-Cyrl-UZ" sz="1200" b="1" dirty="0"/>
              <a:t>13,3%</a:t>
            </a:r>
            <a:endParaRPr lang="ru-RU" sz="12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B838F13-EAE3-43D7-915B-441356FD56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81750" y="1327150"/>
            <a:ext cx="1531938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uz-Cyrl-UZ" altLang="ru-RU" sz="1400" b="1">
                <a:cs typeface="Arial" panose="020B0604020202020204" pitchFamily="34" charset="0"/>
              </a:rPr>
              <a:t>выпускников</a:t>
            </a:r>
            <a:endParaRPr lang="ru-RU" altLang="ru-RU" sz="1400" b="1"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8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9000000">
                                      <p:cBhvr>
                                        <p:cTn id="26" dur="1000" fill="hold"/>
                                        <p:tgtEl>
                                          <p:spTgt spid="110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8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7200000">
                                      <p:cBhvr>
                                        <p:cTn id="28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8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35" dur="10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37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 nodeType="afterGroup">
                            <p:stCondLst>
                              <p:cond delay="2250"/>
                            </p:stCondLst>
                            <p:childTnLst>
                              <p:par>
                                <p:cTn id="43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49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1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 nodeType="clickPar">
                      <p:stCondLst>
                        <p:cond delay="indefinite"/>
                      </p:stCondLst>
                      <p:childTnLst>
                        <p:par>
                          <p:cTn id="5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1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1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1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1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1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8" presetID="8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Rot by="9000000">
                                      <p:cBhvr>
                                        <p:cTn id="99" dur="1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0" presetID="8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7200000">
                                      <p:cBhvr>
                                        <p:cTn id="101" dur="1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0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1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6" dur="10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8" presetClass="emp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5400000">
                                      <p:cBhvr>
                                        <p:cTn id="108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10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1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5" fill="hold" nodeType="afterGroup">
                            <p:stCondLst>
                              <p:cond delay="2250"/>
                            </p:stCondLst>
                            <p:childTnLst>
                              <p:par>
                                <p:cTn id="116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8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1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1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1" fill="hold" nodeType="clickPar">
                      <p:stCondLst>
                        <p:cond delay="indefinite"/>
                      </p:stCondLst>
                      <p:childTnLst>
                        <p:par>
                          <p:cTn id="12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29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1" dur="175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4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7" dur="500"/>
                                        <p:tgtEl>
                                          <p:spTgt spid="1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0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3" dur="500"/>
                                        <p:tgtEl>
                                          <p:spTgt spid="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4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 nodeType="clickPar">
                      <p:stCondLst>
                        <p:cond delay="indefinite"/>
                      </p:stCondLst>
                      <p:childTnLst>
                        <p:par>
                          <p:cTn id="1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58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0" dur="5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1" dur="500" fill="hold"/>
                                        <p:tgtEl>
                                          <p:spTgt spid="2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63" presetID="53" presetClass="entr" presetSubtype="16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0" grpId="0"/>
      <p:bldP spid="131" grpId="0"/>
      <p:bldP spid="132" grpId="0"/>
      <p:bldP spid="153" grpId="0"/>
      <p:bldP spid="155" grpId="0"/>
      <p:bldP spid="173" grpId="0"/>
      <p:bldP spid="175" grpId="0"/>
      <p:bldP spid="187" grpId="0" animBg="1"/>
      <p:bldP spid="188" grpId="0" animBg="1"/>
      <p:bldP spid="189" grpId="0"/>
      <p:bldP spid="190" grpId="0"/>
      <p:bldP spid="6" grpId="0"/>
      <p:bldGraphic spid="3" grpId="0">
        <p:bldAsOne/>
      </p:bldGraphic>
      <p:bldP spid="157" grpId="0"/>
      <p:bldP spid="158" grpId="0"/>
      <p:bldP spid="159" grpId="0"/>
      <p:bldP spid="160" grpId="0"/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1039ACBA-569C-48CE-B313-08D9E72D7C9A}"/>
              </a:ext>
            </a:extLst>
          </p:cNvPr>
          <p:cNvSpPr/>
          <p:nvPr/>
        </p:nvSpPr>
        <p:spPr>
          <a:xfrm>
            <a:off x="2730500" y="114300"/>
            <a:ext cx="9393238" cy="712788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accent2">
                <a:lumMod val="7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 eaLnBrk="1" fontAlgn="auto" hangingPunct="1">
              <a:spcAft>
                <a:spcPts val="0"/>
              </a:spcAft>
              <a:defRPr/>
            </a:pPr>
            <a:endParaRPr lang="ru-RU" sz="1300" b="1" dirty="0">
              <a:solidFill>
                <a:srgbClr val="FFC000"/>
              </a:solidFill>
              <a:cs typeface="Arial" panose="020B0604020202020204" pitchFamily="34" charset="0"/>
            </a:endParaRP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018E3A42-175E-4193-841C-A9719168BE1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562100" cy="2741613"/>
          </a:xfrm>
        </p:spPr>
        <p:txBody>
          <a:bodyPr rtlCol="0"/>
          <a:lstStyle/>
          <a:p>
            <a:pPr fontAlgn="auto">
              <a:spcBef>
                <a:spcPts val="0"/>
              </a:spcBef>
              <a:defRPr/>
            </a:pPr>
            <a:endParaRPr lang="en-GB"/>
          </a:p>
        </p:txBody>
      </p:sp>
      <p:pic>
        <p:nvPicPr>
          <p:cNvPr id="29" name="Picture Placeholder 28" descr="A group of people working on a computer&#10;&#10;Description automatically generated with low confidence">
            <a:extLst>
              <a:ext uri="{FF2B5EF4-FFF2-40B4-BE49-F238E27FC236}">
                <a16:creationId xmlns:a16="http://schemas.microsoft.com/office/drawing/2014/main" id="{441D506F-04C7-402C-85EC-1AEA616EBA3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hqprint"/>
          <a:srcRect/>
          <a:stretch/>
        </p:blipFill>
        <p:spPr/>
      </p:pic>
      <p:pic>
        <p:nvPicPr>
          <p:cNvPr id="37" name="Picture Placeholder 36" descr="A picture containing fabric&#10;&#10;Description automatically generated">
            <a:extLst>
              <a:ext uri="{FF2B5EF4-FFF2-40B4-BE49-F238E27FC236}">
                <a16:creationId xmlns:a16="http://schemas.microsoft.com/office/drawing/2014/main" id="{3FC9A6C9-F79C-4AA1-A4D4-9653A63B984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print"/>
          <a:srcRect/>
          <a:stretch/>
        </p:blipFill>
        <p:spPr/>
      </p:pic>
      <p:pic>
        <p:nvPicPr>
          <p:cNvPr id="31" name="Picture Placeholder 30" descr="A group of women posing for a photo&#10;&#10;Description automatically generated with low confidence">
            <a:extLst>
              <a:ext uri="{FF2B5EF4-FFF2-40B4-BE49-F238E27FC236}">
                <a16:creationId xmlns:a16="http://schemas.microsoft.com/office/drawing/2014/main" id="{9DC880EA-7CBD-43D9-9FD2-463C94FCC040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5" cstate="print"/>
          <a:srcRect/>
          <a:stretch/>
        </p:blipFill>
        <p:spPr/>
      </p:pic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5EA1F655-6F40-4584-A537-30B79FE7BD5B}"/>
              </a:ext>
            </a:extLst>
          </p:cNvPr>
          <p:cNvSpPr/>
          <p:nvPr/>
        </p:nvSpPr>
        <p:spPr>
          <a:xfrm>
            <a:off x="3028950" y="230188"/>
            <a:ext cx="9001125" cy="5095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kern="0" dirty="0">
                <a:solidFill>
                  <a:schemeClr val="accent2">
                    <a:lumMod val="50000"/>
                  </a:schemeClr>
                </a:solidFill>
                <a:cs typeface="Arial" panose="020B0604020202020204" pitchFamily="34" charset="0"/>
                <a:sym typeface="Helvetica Light"/>
              </a:rPr>
              <a:t>ОБЕСПЕЧЕНИЕ ИНТЕГРАЦИИ ПРОФЕССИОНАЛЬНЫХ ОБРАЗОВАТЕЛЬНЫХ УЧРЕЖДЕНИЙ С РЫНКОМ ТРУДА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75666CAC-8C1E-417B-B4F8-DDEC2F789E93}"/>
              </a:ext>
            </a:extLst>
          </p:cNvPr>
          <p:cNvGrpSpPr>
            <a:grpSpLocks/>
          </p:cNvGrpSpPr>
          <p:nvPr/>
        </p:nvGrpSpPr>
        <p:grpSpPr bwMode="auto">
          <a:xfrm>
            <a:off x="2997200" y="873125"/>
            <a:ext cx="4306888" cy="3175000"/>
            <a:chOff x="468695" y="751028"/>
            <a:chExt cx="3178029" cy="3022988"/>
          </a:xfrm>
        </p:grpSpPr>
        <p:sp>
          <p:nvSpPr>
            <p:cNvPr id="10" name="Прямоугольник 6">
              <a:extLst>
                <a:ext uri="{FF2B5EF4-FFF2-40B4-BE49-F238E27FC236}">
                  <a16:creationId xmlns:a16="http://schemas.microsoft.com/office/drawing/2014/main" id="{5EC5BC6D-0889-44BF-8984-CD41BE3CDED5}"/>
                </a:ext>
              </a:extLst>
            </p:cNvPr>
            <p:cNvSpPr/>
            <p:nvPr/>
          </p:nvSpPr>
          <p:spPr>
            <a:xfrm>
              <a:off x="473381" y="751028"/>
              <a:ext cx="3167486" cy="498793"/>
            </a:xfrm>
            <a:prstGeom prst="rect">
              <a:avLst/>
            </a:prstGeom>
            <a:solidFill>
              <a:srgbClr val="1F539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/>
              <a:r>
                <a:rPr lang="ru-RU" altLang="ru-RU" sz="1200" b="1">
                  <a:solidFill>
                    <a:srgbClr val="FFFFFF"/>
                  </a:solidFill>
                  <a:cs typeface="Times New Roman" panose="02020603050405020304" pitchFamily="18" charset="0"/>
                </a:rPr>
                <a:t>Основные направления, в которых работает персонал, не имеющий профессии или специальности</a:t>
              </a:r>
            </a:p>
          </p:txBody>
        </p:sp>
        <p:sp>
          <p:nvSpPr>
            <p:cNvPr id="11" name="Прямоугольник: скругленные углы 3">
              <a:extLst>
                <a:ext uri="{FF2B5EF4-FFF2-40B4-BE49-F238E27FC236}">
                  <a16:creationId xmlns:a16="http://schemas.microsoft.com/office/drawing/2014/main" id="{5C6E3A02-B211-444C-B6DE-D121C9C556C9}"/>
                </a:ext>
              </a:extLst>
            </p:cNvPr>
            <p:cNvSpPr/>
            <p:nvPr/>
          </p:nvSpPr>
          <p:spPr>
            <a:xfrm>
              <a:off x="468695" y="1434223"/>
              <a:ext cx="3167486" cy="575880"/>
            </a:xfrm>
            <a:prstGeom prst="roundRect">
              <a:avLst>
                <a:gd name="adj" fmla="val 12270"/>
              </a:avLst>
            </a:prstGeom>
            <a:solidFill>
              <a:schemeClr val="bg1"/>
            </a:solidFill>
            <a:ln>
              <a:solidFill>
                <a:srgbClr val="029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12" name="Прямоугольник: скругленные углы 4">
              <a:extLst>
                <a:ext uri="{FF2B5EF4-FFF2-40B4-BE49-F238E27FC236}">
                  <a16:creationId xmlns:a16="http://schemas.microsoft.com/office/drawing/2014/main" id="{DCEDE164-37A1-4080-8959-6558506AA5AB}"/>
                </a:ext>
              </a:extLst>
            </p:cNvPr>
            <p:cNvSpPr/>
            <p:nvPr/>
          </p:nvSpPr>
          <p:spPr>
            <a:xfrm>
              <a:off x="544837" y="1348069"/>
              <a:ext cx="2988260" cy="278115"/>
            </a:xfrm>
            <a:prstGeom prst="roundRect">
              <a:avLst/>
            </a:prstGeom>
            <a:solidFill>
              <a:srgbClr val="029E9C"/>
            </a:solidFill>
            <a:ln>
              <a:solidFill>
                <a:srgbClr val="029E9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200" b="1" dirty="0">
                  <a:cs typeface="Arial" panose="020B0604020202020204" pitchFamily="34" charset="0"/>
                </a:rPr>
                <a:t>Строительство</a:t>
              </a:r>
              <a:endParaRPr lang="ru-RU" sz="1200" b="1" dirty="0"/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31315207-9DD4-4557-99F9-6B8846A5F4C1}"/>
                </a:ext>
              </a:extLst>
            </p:cNvPr>
            <p:cNvSpPr/>
            <p:nvPr/>
          </p:nvSpPr>
          <p:spPr>
            <a:xfrm>
              <a:off x="544837" y="1648855"/>
              <a:ext cx="3043317" cy="47612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200" dirty="0">
                  <a:solidFill>
                    <a:schemeClr val="tx1"/>
                  </a:solidFill>
                  <a:cs typeface="Arial" panose="020B0604020202020204" pitchFamily="34" charset="0"/>
                </a:rPr>
                <a:t>Строительные организации и фирмы</a:t>
              </a:r>
              <a:endParaRPr lang="ru-RU" sz="12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4" name="Прямоугольник: скругленные углы 6">
              <a:extLst>
                <a:ext uri="{FF2B5EF4-FFF2-40B4-BE49-F238E27FC236}">
                  <a16:creationId xmlns:a16="http://schemas.microsoft.com/office/drawing/2014/main" id="{A1942402-9FF6-40AC-A5E4-716E0BCC46F1}"/>
                </a:ext>
              </a:extLst>
            </p:cNvPr>
            <p:cNvSpPr/>
            <p:nvPr/>
          </p:nvSpPr>
          <p:spPr>
            <a:xfrm>
              <a:off x="468695" y="2265545"/>
              <a:ext cx="3167486" cy="577391"/>
            </a:xfrm>
            <a:prstGeom prst="roundRect">
              <a:avLst>
                <a:gd name="adj" fmla="val 12270"/>
              </a:avLst>
            </a:prstGeom>
            <a:solidFill>
              <a:schemeClr val="bg1"/>
            </a:solidFill>
            <a:ln>
              <a:solidFill>
                <a:srgbClr val="72AD0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15" name="Прямоугольник: скругленные углы 7">
              <a:extLst>
                <a:ext uri="{FF2B5EF4-FFF2-40B4-BE49-F238E27FC236}">
                  <a16:creationId xmlns:a16="http://schemas.microsoft.com/office/drawing/2014/main" id="{D1405414-0A93-4EF9-939C-CB16B2FF051E}"/>
                </a:ext>
              </a:extLst>
            </p:cNvPr>
            <p:cNvSpPr/>
            <p:nvPr/>
          </p:nvSpPr>
          <p:spPr>
            <a:xfrm>
              <a:off x="544837" y="2173344"/>
              <a:ext cx="2988260" cy="278115"/>
            </a:xfrm>
            <a:prstGeom prst="roundRect">
              <a:avLst/>
            </a:prstGeom>
            <a:solidFill>
              <a:srgbClr val="72AD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200" b="1" dirty="0">
                  <a:cs typeface="Arial" panose="020B0604020202020204" pitchFamily="34" charset="0"/>
                </a:rPr>
                <a:t>Сфера услуг</a:t>
              </a:r>
              <a:endParaRPr lang="ru-RU" sz="1200" b="1" dirty="0"/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35C40DBC-9AB1-4E6B-BDE5-5F69CEDC9677}"/>
                </a:ext>
              </a:extLst>
            </p:cNvPr>
            <p:cNvSpPr/>
            <p:nvPr/>
          </p:nvSpPr>
          <p:spPr>
            <a:xfrm>
              <a:off x="544837" y="2472620"/>
              <a:ext cx="3043317" cy="4761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tx1"/>
                  </a:solidFill>
                  <a:cs typeface="Arial" panose="020B0604020202020204" pitchFamily="34" charset="0"/>
                </a:rPr>
                <a:t>кафе и рестораны, пункты общественного питания, пункты технического обслуживания автомобилей</a:t>
              </a:r>
            </a:p>
          </p:txBody>
        </p:sp>
        <p:sp>
          <p:nvSpPr>
            <p:cNvPr id="17" name="Прямоугольник: скругленные углы 9">
              <a:extLst>
                <a:ext uri="{FF2B5EF4-FFF2-40B4-BE49-F238E27FC236}">
                  <a16:creationId xmlns:a16="http://schemas.microsoft.com/office/drawing/2014/main" id="{F9516B35-297B-46F3-A2F8-A98330E1CA78}"/>
                </a:ext>
              </a:extLst>
            </p:cNvPr>
            <p:cNvSpPr/>
            <p:nvPr/>
          </p:nvSpPr>
          <p:spPr>
            <a:xfrm>
              <a:off x="479238" y="3161861"/>
              <a:ext cx="3167486" cy="575879"/>
            </a:xfrm>
            <a:prstGeom prst="roundRect">
              <a:avLst>
                <a:gd name="adj" fmla="val 12270"/>
              </a:avLst>
            </a:prstGeom>
            <a:solidFill>
              <a:schemeClr val="bg1"/>
            </a:solidFill>
            <a:ln>
              <a:solidFill>
                <a:srgbClr val="384D5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/>
            </a:p>
          </p:txBody>
        </p:sp>
        <p:sp>
          <p:nvSpPr>
            <p:cNvPr id="18" name="Прямоугольник: скругленные углы 10">
              <a:extLst>
                <a:ext uri="{FF2B5EF4-FFF2-40B4-BE49-F238E27FC236}">
                  <a16:creationId xmlns:a16="http://schemas.microsoft.com/office/drawing/2014/main" id="{D2FBE1F6-C2E2-4C9D-B3BB-42AAFA46D01F}"/>
                </a:ext>
              </a:extLst>
            </p:cNvPr>
            <p:cNvSpPr/>
            <p:nvPr/>
          </p:nvSpPr>
          <p:spPr>
            <a:xfrm>
              <a:off x="544837" y="3021292"/>
              <a:ext cx="2988260" cy="278115"/>
            </a:xfrm>
            <a:prstGeom prst="roundRect">
              <a:avLst/>
            </a:prstGeom>
            <a:solidFill>
              <a:srgbClr val="384D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200" b="1" dirty="0">
                  <a:cs typeface="Arial" panose="020B0604020202020204" pitchFamily="34" charset="0"/>
                </a:rPr>
                <a:t>Промышленность</a:t>
              </a:r>
              <a:endParaRPr lang="ru-RU" sz="1200" b="1" dirty="0"/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5CCEC2D1-A2BF-4D48-BEB0-17298C900E33}"/>
                </a:ext>
              </a:extLst>
            </p:cNvPr>
            <p:cNvSpPr/>
            <p:nvPr/>
          </p:nvSpPr>
          <p:spPr>
            <a:xfrm>
              <a:off x="530780" y="3299407"/>
              <a:ext cx="3043317" cy="47460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sz="1200" dirty="0">
                  <a:solidFill>
                    <a:schemeClr val="tx1"/>
                  </a:solidFill>
                  <a:cs typeface="Arial" panose="020B0604020202020204" pitchFamily="34" charset="0"/>
                </a:rPr>
                <a:t>Промышленные предприятия и фирмы </a:t>
              </a:r>
              <a:endParaRPr lang="ru-RU" sz="1200" dirty="0">
                <a:solidFill>
                  <a:schemeClr val="tx1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33867" name="Рисунок 19">
              <a:extLst>
                <a:ext uri="{FF2B5EF4-FFF2-40B4-BE49-F238E27FC236}">
                  <a16:creationId xmlns:a16="http://schemas.microsoft.com/office/drawing/2014/main" id="{DA31D8D0-1A36-4FD4-9FFD-5F2839E02CB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5318" y="1335965"/>
              <a:ext cx="234395" cy="2838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68" name="Рисунок 20">
              <a:extLst>
                <a:ext uri="{FF2B5EF4-FFF2-40B4-BE49-F238E27FC236}">
                  <a16:creationId xmlns:a16="http://schemas.microsoft.com/office/drawing/2014/main" id="{6645CE49-1701-4E08-80A0-7EDFB0BA967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4164" y="2193311"/>
              <a:ext cx="276701" cy="267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69" name="Рисунок 21">
              <a:extLst>
                <a:ext uri="{FF2B5EF4-FFF2-40B4-BE49-F238E27FC236}">
                  <a16:creationId xmlns:a16="http://schemas.microsoft.com/office/drawing/2014/main" id="{871E5A7E-181D-4C94-940E-21C12CFECA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416" y="3000167"/>
              <a:ext cx="220260" cy="2570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35CACF28-4944-4C9C-AEB8-DA89E2F03544}"/>
              </a:ext>
            </a:extLst>
          </p:cNvPr>
          <p:cNvGrpSpPr>
            <a:grpSpLocks/>
          </p:cNvGrpSpPr>
          <p:nvPr/>
        </p:nvGrpSpPr>
        <p:grpSpPr bwMode="auto">
          <a:xfrm>
            <a:off x="7583488" y="920750"/>
            <a:ext cx="4391025" cy="3087688"/>
            <a:chOff x="8029680" y="802423"/>
            <a:chExt cx="3919207" cy="2978651"/>
          </a:xfrm>
        </p:grpSpPr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6068F01D-74BD-46E0-A247-412C88B275B4}"/>
                </a:ext>
              </a:extLst>
            </p:cNvPr>
            <p:cNvSpPr/>
            <p:nvPr/>
          </p:nvSpPr>
          <p:spPr>
            <a:xfrm>
              <a:off x="8477427" y="1315456"/>
              <a:ext cx="1408421" cy="3583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uz-Cyrl-UZ" sz="1100" dirty="0">
                  <a:solidFill>
                    <a:schemeClr val="tx1"/>
                  </a:solidFill>
                  <a:cs typeface="Arial" panose="020B0604020202020204" pitchFamily="34" charset="0"/>
                </a:rPr>
                <a:t>высокое напряжение</a:t>
              </a:r>
              <a:endParaRPr lang="ru-RU" sz="1100" dirty="0">
                <a:solidFill>
                  <a:schemeClr val="tx1"/>
                </a:solidFill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6" name="Прямоугольник 6">
              <a:extLst>
                <a:ext uri="{FF2B5EF4-FFF2-40B4-BE49-F238E27FC236}">
                  <a16:creationId xmlns:a16="http://schemas.microsoft.com/office/drawing/2014/main" id="{980DA902-7F6A-4325-A8AB-602437EA0672}"/>
                </a:ext>
              </a:extLst>
            </p:cNvPr>
            <p:cNvSpPr/>
            <p:nvPr/>
          </p:nvSpPr>
          <p:spPr>
            <a:xfrm>
              <a:off x="8029680" y="802423"/>
              <a:ext cx="3919207" cy="431866"/>
            </a:xfrm>
            <a:prstGeom prst="rect">
              <a:avLst/>
            </a:prstGeom>
            <a:solidFill>
              <a:srgbClr val="1F539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b="1" dirty="0">
                  <a:ea typeface="Times New Roman" panose="02020603050405020304" pitchFamily="18" charset="0"/>
                  <a:cs typeface="Arial" panose="020B0604020202020204" pitchFamily="34" charset="0"/>
                </a:rPr>
                <a:t>Негативные последствия деятельности кадров не имеющих специальностей на рынке труда</a:t>
              </a: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34EA9F3A-6765-4FB2-99C2-41447AABFE2A}"/>
                </a:ext>
              </a:extLst>
            </p:cNvPr>
            <p:cNvSpPr/>
            <p:nvPr/>
          </p:nvSpPr>
          <p:spPr>
            <a:xfrm>
              <a:off x="8029680" y="1315456"/>
              <a:ext cx="412324" cy="358357"/>
            </a:xfrm>
            <a:prstGeom prst="rect">
              <a:avLst/>
            </a:prstGeom>
            <a:solidFill>
              <a:srgbClr val="027498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endParaRPr lang="ru-RU" sz="1000" dirty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91BE33D5-6F71-4FF6-ABDF-21554A330C59}"/>
                </a:ext>
              </a:extLst>
            </p:cNvPr>
            <p:cNvSpPr/>
            <p:nvPr/>
          </p:nvSpPr>
          <p:spPr>
            <a:xfrm>
              <a:off x="8477427" y="1716693"/>
              <a:ext cx="1408421" cy="3583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uz-Cyrl-UZ" sz="1100" dirty="0">
                  <a:solidFill>
                    <a:schemeClr val="tx1"/>
                  </a:solidFill>
                  <a:cs typeface="Arial" panose="020B0604020202020204" pitchFamily="34" charset="0"/>
                </a:rPr>
                <a:t>подземные работы</a:t>
              </a:r>
              <a:endParaRPr lang="ru-RU" sz="1100" dirty="0">
                <a:solidFill>
                  <a:schemeClr val="tx1"/>
                </a:solidFill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id="{E7D85D0D-E685-4ED0-8F81-6408625D06E7}"/>
                </a:ext>
              </a:extLst>
            </p:cNvPr>
            <p:cNvSpPr/>
            <p:nvPr/>
          </p:nvSpPr>
          <p:spPr>
            <a:xfrm>
              <a:off x="8029680" y="1716693"/>
              <a:ext cx="412324" cy="358357"/>
            </a:xfrm>
            <a:prstGeom prst="rect">
              <a:avLst/>
            </a:prstGeom>
            <a:solidFill>
              <a:srgbClr val="027498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endParaRPr lang="ru-RU" sz="1000" dirty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id="{9C8AFD2C-8D3A-45F7-AEE3-FA35ACA2CE54}"/>
                </a:ext>
              </a:extLst>
            </p:cNvPr>
            <p:cNvSpPr/>
            <p:nvPr/>
          </p:nvSpPr>
          <p:spPr>
            <a:xfrm>
              <a:off x="8477427" y="2130182"/>
              <a:ext cx="1414088" cy="3568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uz-Cyrl-UZ" sz="1100" dirty="0">
                  <a:solidFill>
                    <a:schemeClr val="tx1"/>
                  </a:solidFill>
                  <a:cs typeface="Arial" panose="020B0604020202020204" pitchFamily="34" charset="0"/>
                </a:rPr>
                <a:t>высотные работы</a:t>
              </a:r>
              <a:endParaRPr lang="ru-RU" sz="1100" dirty="0">
                <a:solidFill>
                  <a:schemeClr val="tx1"/>
                </a:solidFill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id="{5F270F6D-D68E-4A84-9181-012D42A85EAE}"/>
                </a:ext>
              </a:extLst>
            </p:cNvPr>
            <p:cNvSpPr/>
            <p:nvPr/>
          </p:nvSpPr>
          <p:spPr>
            <a:xfrm>
              <a:off x="8029680" y="2130182"/>
              <a:ext cx="412324" cy="356825"/>
            </a:xfrm>
            <a:prstGeom prst="rect">
              <a:avLst/>
            </a:prstGeom>
            <a:solidFill>
              <a:srgbClr val="027498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endParaRPr lang="ru-RU" sz="1000" dirty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id="{3B376978-133A-4014-B435-1355B8BC05E2}"/>
                </a:ext>
              </a:extLst>
            </p:cNvPr>
            <p:cNvSpPr/>
            <p:nvPr/>
          </p:nvSpPr>
          <p:spPr>
            <a:xfrm>
              <a:off x="10232994" y="1301672"/>
              <a:ext cx="1687555" cy="1171552"/>
            </a:xfrm>
            <a:prstGeom prst="rect">
              <a:avLst/>
            </a:prstGeom>
            <a:solidFill>
              <a:srgbClr val="027498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>
                  <a:solidFill>
                    <a:schemeClr val="bg1"/>
                  </a:solidFill>
                  <a:cs typeface="Arial" panose="020B0604020202020204" pitchFamily="34" charset="0"/>
                </a:rPr>
                <a:t>недостаточная квалификация </a:t>
              </a:r>
              <a:br>
                <a:rPr lang="ru-RU" sz="1100" dirty="0">
                  <a:solidFill>
                    <a:schemeClr val="bg1"/>
                  </a:solidFill>
                  <a:cs typeface="Arial" panose="020B0604020202020204" pitchFamily="34" charset="0"/>
                </a:rPr>
              </a:br>
              <a:r>
                <a:rPr lang="ru-RU" sz="1100" dirty="0">
                  <a:solidFill>
                    <a:schemeClr val="bg1"/>
                  </a:solidFill>
                  <a:cs typeface="Arial" panose="020B0604020202020204" pitchFamily="34" charset="0"/>
                </a:rPr>
                <a:t>в профессиях представляет серьезную опасность для жизни </a:t>
              </a:r>
              <a:br>
                <a:rPr lang="ru-RU" sz="1100" dirty="0">
                  <a:solidFill>
                    <a:schemeClr val="bg1"/>
                  </a:solidFill>
                  <a:cs typeface="Arial" panose="020B0604020202020204" pitchFamily="34" charset="0"/>
                </a:rPr>
              </a:br>
              <a:r>
                <a:rPr lang="ru-RU" sz="1100" dirty="0">
                  <a:solidFill>
                    <a:schemeClr val="bg1"/>
                  </a:solidFill>
                  <a:cs typeface="Arial" panose="020B0604020202020204" pitchFamily="34" charset="0"/>
                </a:rPr>
                <a:t>и здоровья человека</a:t>
              </a:r>
            </a:p>
          </p:txBody>
        </p:sp>
        <p:sp>
          <p:nvSpPr>
            <p:cNvPr id="53" name="Штриховая стрелка вправо 68">
              <a:extLst>
                <a:ext uri="{FF2B5EF4-FFF2-40B4-BE49-F238E27FC236}">
                  <a16:creationId xmlns:a16="http://schemas.microsoft.com/office/drawing/2014/main" id="{DA8B1C02-D683-45DF-9DD8-9B0334179AE5}"/>
                </a:ext>
              </a:extLst>
            </p:cNvPr>
            <p:cNvSpPr/>
            <p:nvPr/>
          </p:nvSpPr>
          <p:spPr>
            <a:xfrm>
              <a:off x="9925522" y="1353741"/>
              <a:ext cx="270632" cy="228185"/>
            </a:xfrm>
            <a:prstGeom prst="stripedRightArrow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60000">
                  <a:srgbClr val="02749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68">
                <a:latin typeface="+mj-lt"/>
              </a:endParaRPr>
            </a:p>
          </p:txBody>
        </p:sp>
        <p:sp>
          <p:nvSpPr>
            <p:cNvPr id="54" name="Штриховая стрелка вправо 68">
              <a:extLst>
                <a:ext uri="{FF2B5EF4-FFF2-40B4-BE49-F238E27FC236}">
                  <a16:creationId xmlns:a16="http://schemas.microsoft.com/office/drawing/2014/main" id="{581B87DF-DC0E-4D39-BB74-BBC6A4D917B8}"/>
                </a:ext>
              </a:extLst>
            </p:cNvPr>
            <p:cNvSpPr/>
            <p:nvPr/>
          </p:nvSpPr>
          <p:spPr>
            <a:xfrm>
              <a:off x="9929772" y="1770293"/>
              <a:ext cx="269215" cy="226653"/>
            </a:xfrm>
            <a:prstGeom prst="stripedRightArrow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60000">
                  <a:srgbClr val="02749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68">
                <a:latin typeface="+mj-lt"/>
              </a:endParaRPr>
            </a:p>
          </p:txBody>
        </p:sp>
        <p:sp>
          <p:nvSpPr>
            <p:cNvPr id="55" name="Штриховая стрелка вправо 54">
              <a:extLst>
                <a:ext uri="{FF2B5EF4-FFF2-40B4-BE49-F238E27FC236}">
                  <a16:creationId xmlns:a16="http://schemas.microsoft.com/office/drawing/2014/main" id="{36A33BDA-A92A-4507-8623-FE0F85C026D5}"/>
                </a:ext>
              </a:extLst>
            </p:cNvPr>
            <p:cNvSpPr/>
            <p:nvPr/>
          </p:nvSpPr>
          <p:spPr>
            <a:xfrm>
              <a:off x="9932606" y="2197565"/>
              <a:ext cx="269215" cy="228184"/>
            </a:xfrm>
            <a:prstGeom prst="stripedRightArrow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60000">
                  <a:srgbClr val="02749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68">
                <a:latin typeface="+mj-lt"/>
              </a:endParaRPr>
            </a:p>
          </p:txBody>
        </p:sp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id="{883DEB8F-8AC8-41B1-979F-1491E34F1F52}"/>
                </a:ext>
              </a:extLst>
            </p:cNvPr>
            <p:cNvSpPr/>
            <p:nvPr/>
          </p:nvSpPr>
          <p:spPr>
            <a:xfrm>
              <a:off x="8477427" y="2609522"/>
              <a:ext cx="1408421" cy="35682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uz-Cyrl-UZ" sz="1100" dirty="0">
                  <a:solidFill>
                    <a:schemeClr val="tx1"/>
                  </a:solidFill>
                  <a:cs typeface="Arial" panose="020B0604020202020204" pitchFamily="34" charset="0"/>
                </a:rPr>
                <a:t>общественное питание</a:t>
              </a:r>
              <a:endParaRPr lang="ru-RU" sz="1100" dirty="0">
                <a:solidFill>
                  <a:schemeClr val="tx1"/>
                </a:solidFill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id="{408CAB17-1CC7-4264-92B9-8A7DCB849964}"/>
                </a:ext>
              </a:extLst>
            </p:cNvPr>
            <p:cNvSpPr/>
            <p:nvPr/>
          </p:nvSpPr>
          <p:spPr>
            <a:xfrm>
              <a:off x="8029680" y="2609522"/>
              <a:ext cx="412324" cy="356826"/>
            </a:xfrm>
            <a:prstGeom prst="rect">
              <a:avLst/>
            </a:prstGeom>
            <a:solidFill>
              <a:srgbClr val="027498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endParaRPr lang="ru-RU" sz="1000" dirty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id="{281C0875-207B-4AB9-AFB6-8B35036E9F4E}"/>
                </a:ext>
              </a:extLst>
            </p:cNvPr>
            <p:cNvSpPr/>
            <p:nvPr/>
          </p:nvSpPr>
          <p:spPr>
            <a:xfrm>
              <a:off x="8477427" y="3010759"/>
              <a:ext cx="1408421" cy="3583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uz-Cyrl-UZ" sz="1100" dirty="0">
                  <a:solidFill>
                    <a:schemeClr val="tx1"/>
                  </a:solidFill>
                  <a:cs typeface="Arial" panose="020B0604020202020204" pitchFamily="34" charset="0"/>
                </a:rPr>
                <a:t>медицинская служба</a:t>
              </a:r>
              <a:endParaRPr lang="ru-RU" sz="1100" dirty="0">
                <a:solidFill>
                  <a:schemeClr val="tx1"/>
                </a:solidFill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id="{93B4041D-69D5-4C54-AC35-B302DC13E3EC}"/>
                </a:ext>
              </a:extLst>
            </p:cNvPr>
            <p:cNvSpPr/>
            <p:nvPr/>
          </p:nvSpPr>
          <p:spPr>
            <a:xfrm>
              <a:off x="8029680" y="3010759"/>
              <a:ext cx="412324" cy="358357"/>
            </a:xfrm>
            <a:prstGeom prst="rect">
              <a:avLst/>
            </a:prstGeom>
            <a:solidFill>
              <a:srgbClr val="027498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endParaRPr lang="ru-RU" sz="1000" dirty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id="{474CDA50-C160-4800-9DC0-3A28685C424A}"/>
                </a:ext>
              </a:extLst>
            </p:cNvPr>
            <p:cNvSpPr/>
            <p:nvPr/>
          </p:nvSpPr>
          <p:spPr>
            <a:xfrm>
              <a:off x="8477427" y="3422717"/>
              <a:ext cx="1418339" cy="3583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r>
                <a:rPr lang="uz-Cyrl-UZ" sz="1200" dirty="0">
                  <a:solidFill>
                    <a:schemeClr val="tx1"/>
                  </a:solidFill>
                  <a:cs typeface="Arial" panose="020B0604020202020204" pitchFamily="34" charset="0"/>
                </a:rPr>
                <a:t>косметология</a:t>
              </a:r>
              <a:endParaRPr lang="ru-RU" sz="1200" dirty="0">
                <a:solidFill>
                  <a:schemeClr val="tx1"/>
                </a:solidFill>
                <a:ea typeface="Times New Roman" panose="02020603050405020304" pitchFamily="18" charset="0"/>
                <a:cs typeface="Arial" panose="020B0604020202020204" pitchFamily="34" charset="0"/>
              </a:endParaRPr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id="{C508B266-7292-4A22-A610-3206E8519007}"/>
                </a:ext>
              </a:extLst>
            </p:cNvPr>
            <p:cNvSpPr/>
            <p:nvPr/>
          </p:nvSpPr>
          <p:spPr>
            <a:xfrm>
              <a:off x="8029680" y="3422717"/>
              <a:ext cx="412324" cy="358357"/>
            </a:xfrm>
            <a:prstGeom prst="rect">
              <a:avLst/>
            </a:prstGeom>
            <a:solidFill>
              <a:srgbClr val="027498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lnSpc>
                  <a:spcPct val="107000"/>
                </a:lnSpc>
                <a:spcBef>
                  <a:spcPts val="600"/>
                </a:spcBef>
                <a:spcAft>
                  <a:spcPts val="0"/>
                </a:spcAft>
                <a:defRPr/>
              </a:pPr>
              <a:endParaRPr lang="ru-RU" sz="1000" dirty="0">
                <a:solidFill>
                  <a:schemeClr val="tx1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id="{354162B6-E094-4430-8D9D-6C94D1859125}"/>
                </a:ext>
              </a:extLst>
            </p:cNvPr>
            <p:cNvSpPr/>
            <p:nvPr/>
          </p:nvSpPr>
          <p:spPr>
            <a:xfrm>
              <a:off x="10249997" y="2569705"/>
              <a:ext cx="1670552" cy="1203712"/>
            </a:xfrm>
            <a:prstGeom prst="rect">
              <a:avLst/>
            </a:prstGeom>
            <a:solidFill>
              <a:srgbClr val="027498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200" dirty="0">
                  <a:solidFill>
                    <a:schemeClr val="bg1"/>
                  </a:solidFill>
                  <a:cs typeface="Arial" panose="020B0604020202020204" pitchFamily="34" charset="0"/>
                </a:rPr>
                <a:t>прямо и косвенно влияет на здоровье человека в других областях</a:t>
              </a:r>
            </a:p>
          </p:txBody>
        </p:sp>
        <p:sp>
          <p:nvSpPr>
            <p:cNvPr id="65" name="Штриховая стрелка вправо 68">
              <a:extLst>
                <a:ext uri="{FF2B5EF4-FFF2-40B4-BE49-F238E27FC236}">
                  <a16:creationId xmlns:a16="http://schemas.microsoft.com/office/drawing/2014/main" id="{EF492E20-36D3-42CA-B5EE-F3C7034D493F}"/>
                </a:ext>
              </a:extLst>
            </p:cNvPr>
            <p:cNvSpPr/>
            <p:nvPr/>
          </p:nvSpPr>
          <p:spPr>
            <a:xfrm>
              <a:off x="9932606" y="2630962"/>
              <a:ext cx="269215" cy="228185"/>
            </a:xfrm>
            <a:prstGeom prst="stripedRightArrow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60000">
                  <a:srgbClr val="02749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68">
                <a:latin typeface="+mj-lt"/>
              </a:endParaRPr>
            </a:p>
          </p:txBody>
        </p:sp>
        <p:sp>
          <p:nvSpPr>
            <p:cNvPr id="66" name="Штриховая стрелка вправо 68">
              <a:extLst>
                <a:ext uri="{FF2B5EF4-FFF2-40B4-BE49-F238E27FC236}">
                  <a16:creationId xmlns:a16="http://schemas.microsoft.com/office/drawing/2014/main" id="{2B9CD205-8421-48D8-8C92-A44117A1879F}"/>
                </a:ext>
              </a:extLst>
            </p:cNvPr>
            <p:cNvSpPr/>
            <p:nvPr/>
          </p:nvSpPr>
          <p:spPr>
            <a:xfrm>
              <a:off x="9932606" y="3073549"/>
              <a:ext cx="269215" cy="228184"/>
            </a:xfrm>
            <a:prstGeom prst="stripedRightArrow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60000">
                  <a:srgbClr val="02749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68">
                <a:latin typeface="+mj-lt"/>
              </a:endParaRPr>
            </a:p>
          </p:txBody>
        </p:sp>
        <p:sp>
          <p:nvSpPr>
            <p:cNvPr id="67" name="Штриховая стрелка вправо 68">
              <a:extLst>
                <a:ext uri="{FF2B5EF4-FFF2-40B4-BE49-F238E27FC236}">
                  <a16:creationId xmlns:a16="http://schemas.microsoft.com/office/drawing/2014/main" id="{FC6AC31B-D66A-4CA7-93B9-90CB7C5CE5F0}"/>
                </a:ext>
              </a:extLst>
            </p:cNvPr>
            <p:cNvSpPr/>
            <p:nvPr/>
          </p:nvSpPr>
          <p:spPr>
            <a:xfrm>
              <a:off x="9935440" y="3485506"/>
              <a:ext cx="269215" cy="228185"/>
            </a:xfrm>
            <a:prstGeom prst="stripedRightArrow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60000">
                  <a:srgbClr val="027498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2068">
                <a:latin typeface="+mj-lt"/>
              </a:endParaRPr>
            </a:p>
          </p:txBody>
        </p:sp>
        <p:pic>
          <p:nvPicPr>
            <p:cNvPr id="33851" name="Рисунок 67">
              <a:extLst>
                <a:ext uri="{FF2B5EF4-FFF2-40B4-BE49-F238E27FC236}">
                  <a16:creationId xmlns:a16="http://schemas.microsoft.com/office/drawing/2014/main" id="{F85C05D9-5DBD-496D-8263-04B540909D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63426" y="1328945"/>
              <a:ext cx="308100" cy="333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52" name="Рисунок 68">
              <a:extLst>
                <a:ext uri="{FF2B5EF4-FFF2-40B4-BE49-F238E27FC236}">
                  <a16:creationId xmlns:a16="http://schemas.microsoft.com/office/drawing/2014/main" id="{3CD1D068-8AFF-4F80-B497-F96852C2E1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2764" y="1727494"/>
              <a:ext cx="254741" cy="32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53" name="Рисунок 69">
              <a:extLst>
                <a:ext uri="{FF2B5EF4-FFF2-40B4-BE49-F238E27FC236}">
                  <a16:creationId xmlns:a16="http://schemas.microsoft.com/office/drawing/2014/main" id="{E4BF48D1-2478-4553-8282-6A6272D366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76111" y="2137912"/>
              <a:ext cx="291394" cy="341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54" name="Рисунок 70">
              <a:extLst>
                <a:ext uri="{FF2B5EF4-FFF2-40B4-BE49-F238E27FC236}">
                  <a16:creationId xmlns:a16="http://schemas.microsoft.com/office/drawing/2014/main" id="{3EE35887-2102-4E76-AE5D-DFC83D941C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89208" y="2635052"/>
              <a:ext cx="306058" cy="306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55" name="Picture 32">
              <a:extLst>
                <a:ext uri="{FF2B5EF4-FFF2-40B4-BE49-F238E27FC236}">
                  <a16:creationId xmlns:a16="http://schemas.microsoft.com/office/drawing/2014/main" id="{E2378BFC-AC8C-4B8F-9534-0F40728AEE0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grayscl/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2700" t="9477" r="32700" b="9477"/>
            <a:stretch>
              <a:fillRect/>
            </a:stretch>
          </p:blipFill>
          <p:spPr bwMode="auto">
            <a:xfrm>
              <a:off x="8108135" y="3025000"/>
              <a:ext cx="259370" cy="326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56" name="Рисунок 72">
              <a:extLst>
                <a:ext uri="{FF2B5EF4-FFF2-40B4-BE49-F238E27FC236}">
                  <a16:creationId xmlns:a16="http://schemas.microsoft.com/office/drawing/2014/main" id="{BED006D4-B8B4-4AAE-A73B-DABD3DEBD8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hqprint">
              <a:lum bright="70000" contrast="-7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8068582" y="3432399"/>
              <a:ext cx="334933" cy="3349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074D47B-7585-4F4F-BA40-9582CD26B034}"/>
              </a:ext>
            </a:extLst>
          </p:cNvPr>
          <p:cNvGrpSpPr>
            <a:grpSpLocks/>
          </p:cNvGrpSpPr>
          <p:nvPr/>
        </p:nvGrpSpPr>
        <p:grpSpPr bwMode="auto">
          <a:xfrm>
            <a:off x="3300413" y="4098925"/>
            <a:ext cx="8807450" cy="2676525"/>
            <a:chOff x="3300992" y="4098670"/>
            <a:chExt cx="8806869" cy="2677291"/>
          </a:xfrm>
        </p:grpSpPr>
        <p:sp>
          <p:nvSpPr>
            <p:cNvPr id="74" name="Прямоугольник 73">
              <a:extLst>
                <a:ext uri="{FF2B5EF4-FFF2-40B4-BE49-F238E27FC236}">
                  <a16:creationId xmlns:a16="http://schemas.microsoft.com/office/drawing/2014/main" id="{D4FCF9B2-39A3-4DA1-81C7-FD0BE9F047E6}"/>
                </a:ext>
              </a:extLst>
            </p:cNvPr>
            <p:cNvSpPr/>
            <p:nvPr/>
          </p:nvSpPr>
          <p:spPr>
            <a:xfrm>
              <a:off x="3915313" y="4098670"/>
              <a:ext cx="7741727" cy="41445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00" b="1" kern="0" dirty="0">
                  <a:solidFill>
                    <a:srgbClr val="20353F"/>
                  </a:solidFill>
                  <a:cs typeface="Arial" panose="020B0604020202020204" pitchFamily="34" charset="0"/>
                  <a:sym typeface="Helvetica Light"/>
                </a:rPr>
                <a:t>ПРИОРИТЕТЫ В ОБЕСПЕЧЕНИИ ЗАНЯТОСТИ ВЫПУСКНИКОВ</a:t>
              </a:r>
              <a:endParaRPr lang="uz-Cyrl-UZ" sz="1400" b="1" kern="0" dirty="0">
                <a:solidFill>
                  <a:srgbClr val="20353F"/>
                </a:solidFill>
                <a:cs typeface="Arial" panose="020B0604020202020204" pitchFamily="34" charset="0"/>
                <a:sym typeface="Helvetica Light"/>
              </a:endParaRPr>
            </a:p>
          </p:txBody>
        </p:sp>
        <p:grpSp>
          <p:nvGrpSpPr>
            <p:cNvPr id="33804" name="Группа 74">
              <a:extLst>
                <a:ext uri="{FF2B5EF4-FFF2-40B4-BE49-F238E27FC236}">
                  <a16:creationId xmlns:a16="http://schemas.microsoft.com/office/drawing/2014/main" id="{D60A3869-F99A-4518-8795-E60FA3BDC9D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300992" y="4509106"/>
              <a:ext cx="4329603" cy="2266855"/>
              <a:chOff x="4293936" y="4481566"/>
              <a:chExt cx="7654952" cy="2266855"/>
            </a:xfrm>
          </p:grpSpPr>
          <p:sp>
            <p:nvSpPr>
              <p:cNvPr id="76" name="Скругленный прямоугольник 45">
                <a:extLst>
                  <a:ext uri="{FF2B5EF4-FFF2-40B4-BE49-F238E27FC236}">
                    <a16:creationId xmlns:a16="http://schemas.microsoft.com/office/drawing/2014/main" id="{ACD8F43C-5D70-4C1A-BDA9-CCE78807C337}"/>
                  </a:ext>
                </a:extLst>
              </p:cNvPr>
              <p:cNvSpPr/>
              <p:nvPr/>
            </p:nvSpPr>
            <p:spPr>
              <a:xfrm>
                <a:off x="11495654" y="4522109"/>
                <a:ext cx="451861" cy="595483"/>
              </a:xfrm>
              <a:prstGeom prst="roundRect">
                <a:avLst/>
              </a:prstGeom>
              <a:solidFill>
                <a:srgbClr val="038E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77" name="Скругленный прямоугольник 17">
                <a:extLst>
                  <a:ext uri="{FF2B5EF4-FFF2-40B4-BE49-F238E27FC236}">
                    <a16:creationId xmlns:a16="http://schemas.microsoft.com/office/drawing/2014/main" id="{A8D228FC-A53B-47F7-B928-EE9669697F6C}"/>
                  </a:ext>
                </a:extLst>
              </p:cNvPr>
              <p:cNvSpPr/>
              <p:nvPr/>
            </p:nvSpPr>
            <p:spPr>
              <a:xfrm>
                <a:off x="4734570" y="4480822"/>
                <a:ext cx="7109101" cy="678057"/>
              </a:xfrm>
              <a:prstGeom prst="roundRect">
                <a:avLst/>
              </a:prstGeom>
              <a:solidFill>
                <a:srgbClr val="FBFBFB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uz-Cyrl-UZ" altLang="ru-RU" sz="1200">
                    <a:solidFill>
                      <a:srgbClr val="002060"/>
                    </a:solidFill>
                    <a:ea typeface="Calibri" panose="020F0502020204030204" pitchFamily="34" charset="0"/>
                    <a:cs typeface="Arial" panose="020B0604020202020204" pitchFamily="34" charset="0"/>
                  </a:rPr>
                  <a:t>  </a:t>
                </a:r>
                <a:r>
                  <a:rPr lang="ru-RU" altLang="zh-CN" sz="1200" b="1">
                    <a:solidFill>
                      <a:srgbClr val="002060"/>
                    </a:solidFill>
                    <a:cs typeface="Arial" panose="020B0604020202020204" pitchFamily="34" charset="0"/>
                    <a:sym typeface="Arial" panose="020B0604020202020204" pitchFamily="34" charset="0"/>
                  </a:rPr>
                  <a:t>Привлечение предприятий к организации дуального обучения и производственной практики</a:t>
                </a:r>
                <a:endParaRPr lang="zh-CN" altLang="en-US" sz="1200" b="1">
                  <a:solidFill>
                    <a:srgbClr val="002060"/>
                  </a:solidFill>
                  <a:cs typeface="Arial" panose="020B0604020202020204" pitchFamily="34" charset="0"/>
                  <a:sym typeface="Arial" panose="020B0604020202020204" pitchFamily="34" charset="0"/>
                </a:endParaRPr>
              </a:p>
            </p:txBody>
          </p:sp>
          <p:grpSp>
            <p:nvGrpSpPr>
              <p:cNvPr id="78" name="Group 4">
                <a:extLst>
                  <a:ext uri="{FF2B5EF4-FFF2-40B4-BE49-F238E27FC236}">
                    <a16:creationId xmlns:a16="http://schemas.microsoft.com/office/drawing/2014/main" id="{5D80E17E-B4B1-4F0B-80E8-80E80398A6A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293936" y="4538797"/>
                <a:ext cx="698062" cy="595784"/>
                <a:chOff x="4091" y="1030"/>
                <a:chExt cx="976" cy="833"/>
              </a:xfrm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6" name="Freeform 5">
                  <a:extLst>
                    <a:ext uri="{FF2B5EF4-FFF2-40B4-BE49-F238E27FC236}">
                      <a16:creationId xmlns:a16="http://schemas.microsoft.com/office/drawing/2014/main" id="{A4F13201-475B-4974-B544-6A5BA38099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030"/>
                  <a:ext cx="786" cy="417"/>
                </a:xfrm>
                <a:custGeom>
                  <a:avLst/>
                  <a:gdLst>
                    <a:gd name="T0" fmla="*/ 786 w 786"/>
                    <a:gd name="T1" fmla="*/ 417 h 417"/>
                    <a:gd name="T2" fmla="*/ 189 w 786"/>
                    <a:gd name="T3" fmla="*/ 417 h 417"/>
                    <a:gd name="T4" fmla="*/ 0 w 786"/>
                    <a:gd name="T5" fmla="*/ 0 h 417"/>
                    <a:gd name="T6" fmla="*/ 596 w 786"/>
                    <a:gd name="T7" fmla="*/ 0 h 417"/>
                    <a:gd name="T8" fmla="*/ 786 w 786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7">
                      <a:moveTo>
                        <a:pt x="786" y="417"/>
                      </a:moveTo>
                      <a:lnTo>
                        <a:pt x="189" y="417"/>
                      </a:lnTo>
                      <a:lnTo>
                        <a:pt x="0" y="0"/>
                      </a:lnTo>
                      <a:lnTo>
                        <a:pt x="596" y="0"/>
                      </a:lnTo>
                      <a:lnTo>
                        <a:pt x="786" y="417"/>
                      </a:lnTo>
                      <a:close/>
                    </a:path>
                  </a:pathLst>
                </a:custGeom>
                <a:solidFill>
                  <a:srgbClr val="C3D2D7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97" name="Freeform 6">
                  <a:extLst>
                    <a:ext uri="{FF2B5EF4-FFF2-40B4-BE49-F238E27FC236}">
                      <a16:creationId xmlns:a16="http://schemas.microsoft.com/office/drawing/2014/main" id="{7FF78B12-FDE5-4756-B977-66A1B77CF0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030"/>
                  <a:ext cx="785" cy="417"/>
                </a:xfrm>
                <a:custGeom>
                  <a:avLst/>
                  <a:gdLst>
                    <a:gd name="T0" fmla="*/ 785 w 785"/>
                    <a:gd name="T1" fmla="*/ 417 h 417"/>
                    <a:gd name="T2" fmla="*/ 190 w 785"/>
                    <a:gd name="T3" fmla="*/ 417 h 417"/>
                    <a:gd name="T4" fmla="*/ 0 w 785"/>
                    <a:gd name="T5" fmla="*/ 0 h 417"/>
                    <a:gd name="T6" fmla="*/ 595 w 785"/>
                    <a:gd name="T7" fmla="*/ 0 h 417"/>
                    <a:gd name="T8" fmla="*/ 785 w 785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7">
                      <a:moveTo>
                        <a:pt x="785" y="417"/>
                      </a:moveTo>
                      <a:lnTo>
                        <a:pt x="190" y="417"/>
                      </a:lnTo>
                      <a:lnTo>
                        <a:pt x="0" y="0"/>
                      </a:lnTo>
                      <a:lnTo>
                        <a:pt x="595" y="0"/>
                      </a:lnTo>
                      <a:lnTo>
                        <a:pt x="785" y="417"/>
                      </a:lnTo>
                      <a:close/>
                    </a:path>
                  </a:pathLst>
                </a:custGeom>
                <a:solidFill>
                  <a:srgbClr val="164555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98" name="Freeform 7">
                  <a:extLst>
                    <a:ext uri="{FF2B5EF4-FFF2-40B4-BE49-F238E27FC236}">
                      <a16:creationId xmlns:a16="http://schemas.microsoft.com/office/drawing/2014/main" id="{D1B3C56B-05B3-486E-A5A4-8C36C281DA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447"/>
                  <a:ext cx="786" cy="416"/>
                </a:xfrm>
                <a:custGeom>
                  <a:avLst/>
                  <a:gdLst>
                    <a:gd name="T0" fmla="*/ 786 w 786"/>
                    <a:gd name="T1" fmla="*/ 0 h 416"/>
                    <a:gd name="T2" fmla="*/ 189 w 786"/>
                    <a:gd name="T3" fmla="*/ 0 h 416"/>
                    <a:gd name="T4" fmla="*/ 0 w 786"/>
                    <a:gd name="T5" fmla="*/ 416 h 416"/>
                    <a:gd name="T6" fmla="*/ 596 w 786"/>
                    <a:gd name="T7" fmla="*/ 416 h 416"/>
                    <a:gd name="T8" fmla="*/ 786 w 786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6">
                      <a:moveTo>
                        <a:pt x="786" y="0"/>
                      </a:moveTo>
                      <a:lnTo>
                        <a:pt x="189" y="0"/>
                      </a:lnTo>
                      <a:lnTo>
                        <a:pt x="0" y="416"/>
                      </a:lnTo>
                      <a:lnTo>
                        <a:pt x="596" y="416"/>
                      </a:lnTo>
                      <a:lnTo>
                        <a:pt x="78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99" name="Freeform 8">
                  <a:extLst>
                    <a:ext uri="{FF2B5EF4-FFF2-40B4-BE49-F238E27FC236}">
                      <a16:creationId xmlns:a16="http://schemas.microsoft.com/office/drawing/2014/main" id="{56AF3806-201F-4945-9CB3-CA5A9809C6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447"/>
                  <a:ext cx="785" cy="416"/>
                </a:xfrm>
                <a:custGeom>
                  <a:avLst/>
                  <a:gdLst>
                    <a:gd name="T0" fmla="*/ 785 w 785"/>
                    <a:gd name="T1" fmla="*/ 0 h 416"/>
                    <a:gd name="T2" fmla="*/ 190 w 785"/>
                    <a:gd name="T3" fmla="*/ 0 h 416"/>
                    <a:gd name="T4" fmla="*/ 0 w 785"/>
                    <a:gd name="T5" fmla="*/ 416 h 416"/>
                    <a:gd name="T6" fmla="*/ 595 w 785"/>
                    <a:gd name="T7" fmla="*/ 416 h 416"/>
                    <a:gd name="T8" fmla="*/ 785 w 785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6">
                      <a:moveTo>
                        <a:pt x="785" y="0"/>
                      </a:moveTo>
                      <a:lnTo>
                        <a:pt x="190" y="0"/>
                      </a:lnTo>
                      <a:lnTo>
                        <a:pt x="0" y="416"/>
                      </a:lnTo>
                      <a:lnTo>
                        <a:pt x="595" y="416"/>
                      </a:lnTo>
                      <a:lnTo>
                        <a:pt x="785" y="0"/>
                      </a:lnTo>
                      <a:close/>
                    </a:path>
                  </a:pathLst>
                </a:custGeom>
                <a:solidFill>
                  <a:srgbClr val="1C5463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</p:grpSp>
          <p:sp>
            <p:nvSpPr>
              <p:cNvPr id="33821" name="TextBox 78">
                <a:extLst>
                  <a:ext uri="{FF2B5EF4-FFF2-40B4-BE49-F238E27FC236}">
                    <a16:creationId xmlns:a16="http://schemas.microsoft.com/office/drawing/2014/main" id="{E00C5523-8F3A-45BE-BFE8-7C113227956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38080" y="4653372"/>
                <a:ext cx="301685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uz-Cyrl-UZ" altLang="ru-RU" b="1">
                    <a:solidFill>
                      <a:schemeClr val="bg1"/>
                    </a:solidFill>
                  </a:rPr>
                  <a:t>1</a:t>
                </a:r>
                <a:endParaRPr lang="ru-RU" altLang="ru-RU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Скругленный прямоугольник 45">
                <a:extLst>
                  <a:ext uri="{FF2B5EF4-FFF2-40B4-BE49-F238E27FC236}">
                    <a16:creationId xmlns:a16="http://schemas.microsoft.com/office/drawing/2014/main" id="{68555A3B-98B3-4015-B477-2C21A8F4CFB6}"/>
                  </a:ext>
                </a:extLst>
              </p:cNvPr>
              <p:cNvSpPr/>
              <p:nvPr/>
            </p:nvSpPr>
            <p:spPr>
              <a:xfrm>
                <a:off x="11523720" y="5277975"/>
                <a:ext cx="423795" cy="595483"/>
              </a:xfrm>
              <a:prstGeom prst="roundRect">
                <a:avLst/>
              </a:prstGeom>
              <a:solidFill>
                <a:srgbClr val="038E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81" name="Скругленный прямоугольник 17">
                <a:extLst>
                  <a:ext uri="{FF2B5EF4-FFF2-40B4-BE49-F238E27FC236}">
                    <a16:creationId xmlns:a16="http://schemas.microsoft.com/office/drawing/2014/main" id="{5383EF10-A1F7-49BC-AAB9-66531EF39E8E}"/>
                  </a:ext>
                </a:extLst>
              </p:cNvPr>
              <p:cNvSpPr/>
              <p:nvPr/>
            </p:nvSpPr>
            <p:spPr>
              <a:xfrm>
                <a:off x="4838415" y="5236688"/>
                <a:ext cx="7005256" cy="678057"/>
              </a:xfrm>
              <a:prstGeom prst="roundRect">
                <a:avLst/>
              </a:prstGeom>
              <a:solidFill>
                <a:srgbClr val="FBFBFB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uz-Cyrl-UZ" altLang="zh-CN" sz="1200" b="1">
                    <a:solidFill>
                      <a:srgbClr val="002060"/>
                    </a:solidFill>
                    <a:cs typeface="Arial" panose="020B0604020202020204" pitchFamily="34" charset="0"/>
                    <a:sym typeface="Arial" panose="020B0604020202020204" pitchFamily="34" charset="0"/>
                  </a:rPr>
                  <a:t>Формирование навыков трудоустройства выпускников</a:t>
                </a:r>
                <a:endParaRPr lang="ru-RU" altLang="ru-RU" sz="1200">
                  <a:solidFill>
                    <a:srgbClr val="002060"/>
                  </a:solidFill>
                  <a:ea typeface="SimHei" panose="02010609060101010101" pitchFamily="49" charset="-122"/>
                  <a:cs typeface="Calibri" panose="020F0502020204030204" pitchFamily="34" charset="0"/>
                </a:endParaRPr>
              </a:p>
            </p:txBody>
          </p:sp>
          <p:grpSp>
            <p:nvGrpSpPr>
              <p:cNvPr id="82" name="Group 4">
                <a:extLst>
                  <a:ext uri="{FF2B5EF4-FFF2-40B4-BE49-F238E27FC236}">
                    <a16:creationId xmlns:a16="http://schemas.microsoft.com/office/drawing/2014/main" id="{C677C4FC-97E4-4086-ABEA-8866CD54EE43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301063" y="5289533"/>
                <a:ext cx="698062" cy="595784"/>
                <a:chOff x="4091" y="1030"/>
                <a:chExt cx="976" cy="833"/>
              </a:xfrm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92" name="Freeform 5">
                  <a:extLst>
                    <a:ext uri="{FF2B5EF4-FFF2-40B4-BE49-F238E27FC236}">
                      <a16:creationId xmlns:a16="http://schemas.microsoft.com/office/drawing/2014/main" id="{35CE0FC0-5296-451C-86DF-56360A25BF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030"/>
                  <a:ext cx="786" cy="417"/>
                </a:xfrm>
                <a:custGeom>
                  <a:avLst/>
                  <a:gdLst>
                    <a:gd name="T0" fmla="*/ 786 w 786"/>
                    <a:gd name="T1" fmla="*/ 417 h 417"/>
                    <a:gd name="T2" fmla="*/ 189 w 786"/>
                    <a:gd name="T3" fmla="*/ 417 h 417"/>
                    <a:gd name="T4" fmla="*/ 0 w 786"/>
                    <a:gd name="T5" fmla="*/ 0 h 417"/>
                    <a:gd name="T6" fmla="*/ 596 w 786"/>
                    <a:gd name="T7" fmla="*/ 0 h 417"/>
                    <a:gd name="T8" fmla="*/ 786 w 786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7">
                      <a:moveTo>
                        <a:pt x="786" y="417"/>
                      </a:moveTo>
                      <a:lnTo>
                        <a:pt x="189" y="417"/>
                      </a:lnTo>
                      <a:lnTo>
                        <a:pt x="0" y="0"/>
                      </a:lnTo>
                      <a:lnTo>
                        <a:pt x="596" y="0"/>
                      </a:lnTo>
                      <a:lnTo>
                        <a:pt x="786" y="417"/>
                      </a:lnTo>
                      <a:close/>
                    </a:path>
                  </a:pathLst>
                </a:custGeom>
                <a:solidFill>
                  <a:srgbClr val="C3D2D7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93" name="Freeform 6">
                  <a:extLst>
                    <a:ext uri="{FF2B5EF4-FFF2-40B4-BE49-F238E27FC236}">
                      <a16:creationId xmlns:a16="http://schemas.microsoft.com/office/drawing/2014/main" id="{AF79986C-6D4B-4E96-8639-F76EB00EF7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030"/>
                  <a:ext cx="785" cy="417"/>
                </a:xfrm>
                <a:custGeom>
                  <a:avLst/>
                  <a:gdLst>
                    <a:gd name="T0" fmla="*/ 785 w 785"/>
                    <a:gd name="T1" fmla="*/ 417 h 417"/>
                    <a:gd name="T2" fmla="*/ 190 w 785"/>
                    <a:gd name="T3" fmla="*/ 417 h 417"/>
                    <a:gd name="T4" fmla="*/ 0 w 785"/>
                    <a:gd name="T5" fmla="*/ 0 h 417"/>
                    <a:gd name="T6" fmla="*/ 595 w 785"/>
                    <a:gd name="T7" fmla="*/ 0 h 417"/>
                    <a:gd name="T8" fmla="*/ 785 w 785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7">
                      <a:moveTo>
                        <a:pt x="785" y="417"/>
                      </a:moveTo>
                      <a:lnTo>
                        <a:pt x="190" y="417"/>
                      </a:lnTo>
                      <a:lnTo>
                        <a:pt x="0" y="0"/>
                      </a:lnTo>
                      <a:lnTo>
                        <a:pt x="595" y="0"/>
                      </a:lnTo>
                      <a:lnTo>
                        <a:pt x="785" y="417"/>
                      </a:lnTo>
                      <a:close/>
                    </a:path>
                  </a:pathLst>
                </a:custGeom>
                <a:solidFill>
                  <a:srgbClr val="164555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94" name="Freeform 7">
                  <a:extLst>
                    <a:ext uri="{FF2B5EF4-FFF2-40B4-BE49-F238E27FC236}">
                      <a16:creationId xmlns:a16="http://schemas.microsoft.com/office/drawing/2014/main" id="{D334E2B9-5A7A-4320-89CB-9AD8815ECD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447"/>
                  <a:ext cx="786" cy="416"/>
                </a:xfrm>
                <a:custGeom>
                  <a:avLst/>
                  <a:gdLst>
                    <a:gd name="T0" fmla="*/ 786 w 786"/>
                    <a:gd name="T1" fmla="*/ 0 h 416"/>
                    <a:gd name="T2" fmla="*/ 189 w 786"/>
                    <a:gd name="T3" fmla="*/ 0 h 416"/>
                    <a:gd name="T4" fmla="*/ 0 w 786"/>
                    <a:gd name="T5" fmla="*/ 416 h 416"/>
                    <a:gd name="T6" fmla="*/ 596 w 786"/>
                    <a:gd name="T7" fmla="*/ 416 h 416"/>
                    <a:gd name="T8" fmla="*/ 786 w 786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6">
                      <a:moveTo>
                        <a:pt x="786" y="0"/>
                      </a:moveTo>
                      <a:lnTo>
                        <a:pt x="189" y="0"/>
                      </a:lnTo>
                      <a:lnTo>
                        <a:pt x="0" y="416"/>
                      </a:lnTo>
                      <a:lnTo>
                        <a:pt x="596" y="416"/>
                      </a:lnTo>
                      <a:lnTo>
                        <a:pt x="78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95" name="Freeform 8">
                  <a:extLst>
                    <a:ext uri="{FF2B5EF4-FFF2-40B4-BE49-F238E27FC236}">
                      <a16:creationId xmlns:a16="http://schemas.microsoft.com/office/drawing/2014/main" id="{405CF2AE-D577-4AAB-8F8C-43C9D1791C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447"/>
                  <a:ext cx="785" cy="416"/>
                </a:xfrm>
                <a:custGeom>
                  <a:avLst/>
                  <a:gdLst>
                    <a:gd name="T0" fmla="*/ 785 w 785"/>
                    <a:gd name="T1" fmla="*/ 0 h 416"/>
                    <a:gd name="T2" fmla="*/ 190 w 785"/>
                    <a:gd name="T3" fmla="*/ 0 h 416"/>
                    <a:gd name="T4" fmla="*/ 0 w 785"/>
                    <a:gd name="T5" fmla="*/ 416 h 416"/>
                    <a:gd name="T6" fmla="*/ 595 w 785"/>
                    <a:gd name="T7" fmla="*/ 416 h 416"/>
                    <a:gd name="T8" fmla="*/ 785 w 785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6">
                      <a:moveTo>
                        <a:pt x="785" y="0"/>
                      </a:moveTo>
                      <a:lnTo>
                        <a:pt x="190" y="0"/>
                      </a:lnTo>
                      <a:lnTo>
                        <a:pt x="0" y="416"/>
                      </a:lnTo>
                      <a:lnTo>
                        <a:pt x="595" y="416"/>
                      </a:lnTo>
                      <a:lnTo>
                        <a:pt x="785" y="0"/>
                      </a:lnTo>
                      <a:close/>
                    </a:path>
                  </a:pathLst>
                </a:custGeom>
                <a:solidFill>
                  <a:srgbClr val="1C5463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</p:grpSp>
          <p:sp>
            <p:nvSpPr>
              <p:cNvPr id="33825" name="TextBox 82">
                <a:extLst>
                  <a:ext uri="{FF2B5EF4-FFF2-40B4-BE49-F238E27FC236}">
                    <a16:creationId xmlns:a16="http://schemas.microsoft.com/office/drawing/2014/main" id="{4D094DF9-AA8E-4E5C-8565-013A5D44717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42418" y="5389809"/>
                <a:ext cx="301686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uz-Cyrl-UZ" altLang="ru-RU" b="1">
                    <a:solidFill>
                      <a:schemeClr val="bg1"/>
                    </a:solidFill>
                  </a:rPr>
                  <a:t>2</a:t>
                </a:r>
                <a:endParaRPr lang="ru-RU" altLang="ru-RU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84" name="Скругленный прямоугольник 45">
                <a:extLst>
                  <a:ext uri="{FF2B5EF4-FFF2-40B4-BE49-F238E27FC236}">
                    <a16:creationId xmlns:a16="http://schemas.microsoft.com/office/drawing/2014/main" id="{23BFF619-D408-4FBE-AB0B-B0C395B7C879}"/>
                  </a:ext>
                </a:extLst>
              </p:cNvPr>
              <p:cNvSpPr/>
              <p:nvPr/>
            </p:nvSpPr>
            <p:spPr>
              <a:xfrm>
                <a:off x="11523720" y="6075128"/>
                <a:ext cx="423795" cy="597071"/>
              </a:xfrm>
              <a:prstGeom prst="roundRect">
                <a:avLst/>
              </a:prstGeom>
              <a:solidFill>
                <a:srgbClr val="038E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85" name="Скругленный прямоугольник 17">
                <a:extLst>
                  <a:ext uri="{FF2B5EF4-FFF2-40B4-BE49-F238E27FC236}">
                    <a16:creationId xmlns:a16="http://schemas.microsoft.com/office/drawing/2014/main" id="{C12BE24A-8C39-4D26-8729-CC79EC5BFF25}"/>
                  </a:ext>
                </a:extLst>
              </p:cNvPr>
              <p:cNvSpPr/>
              <p:nvPr/>
            </p:nvSpPr>
            <p:spPr>
              <a:xfrm>
                <a:off x="4762636" y="6035430"/>
                <a:ext cx="7092261" cy="712991"/>
              </a:xfrm>
              <a:prstGeom prst="roundRect">
                <a:avLst/>
              </a:prstGeom>
              <a:solidFill>
                <a:srgbClr val="FBFBFB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uz-Cyrl-UZ" altLang="zh-CN" sz="1200" b="1">
                    <a:solidFill>
                      <a:srgbClr val="002060"/>
                    </a:solidFill>
                    <a:cs typeface="Arial" panose="020B0604020202020204" pitchFamily="34" charset="0"/>
                    <a:sym typeface="Arial" panose="020B0604020202020204" pitchFamily="34" charset="0"/>
                  </a:rPr>
                  <a:t>Формирование навыков предпринимательства выпускников</a:t>
                </a:r>
                <a:endParaRPr lang="ru-RU" altLang="ru-RU" sz="1200">
                  <a:solidFill>
                    <a:srgbClr val="002060"/>
                  </a:solidFill>
                  <a:ea typeface="SimHei" panose="02010609060101010101" pitchFamily="49" charset="-122"/>
                  <a:cs typeface="Calibri" panose="020F0502020204030204" pitchFamily="34" charset="0"/>
                </a:endParaRPr>
              </a:p>
            </p:txBody>
          </p:sp>
          <p:grpSp>
            <p:nvGrpSpPr>
              <p:cNvPr id="86" name="Group 4">
                <a:extLst>
                  <a:ext uri="{FF2B5EF4-FFF2-40B4-BE49-F238E27FC236}">
                    <a16:creationId xmlns:a16="http://schemas.microsoft.com/office/drawing/2014/main" id="{9A93C4C5-E9B8-4EE1-9E52-917F9B700F04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301063" y="6075509"/>
                <a:ext cx="698062" cy="595784"/>
                <a:chOff x="4091" y="1030"/>
                <a:chExt cx="976" cy="833"/>
              </a:xfrm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88" name="Freeform 5">
                  <a:extLst>
                    <a:ext uri="{FF2B5EF4-FFF2-40B4-BE49-F238E27FC236}">
                      <a16:creationId xmlns:a16="http://schemas.microsoft.com/office/drawing/2014/main" id="{F72174AE-CF64-42B3-B05A-763838A48A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030"/>
                  <a:ext cx="786" cy="417"/>
                </a:xfrm>
                <a:custGeom>
                  <a:avLst/>
                  <a:gdLst>
                    <a:gd name="T0" fmla="*/ 786 w 786"/>
                    <a:gd name="T1" fmla="*/ 417 h 417"/>
                    <a:gd name="T2" fmla="*/ 189 w 786"/>
                    <a:gd name="T3" fmla="*/ 417 h 417"/>
                    <a:gd name="T4" fmla="*/ 0 w 786"/>
                    <a:gd name="T5" fmla="*/ 0 h 417"/>
                    <a:gd name="T6" fmla="*/ 596 w 786"/>
                    <a:gd name="T7" fmla="*/ 0 h 417"/>
                    <a:gd name="T8" fmla="*/ 786 w 786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7">
                      <a:moveTo>
                        <a:pt x="786" y="417"/>
                      </a:moveTo>
                      <a:lnTo>
                        <a:pt x="189" y="417"/>
                      </a:lnTo>
                      <a:lnTo>
                        <a:pt x="0" y="0"/>
                      </a:lnTo>
                      <a:lnTo>
                        <a:pt x="596" y="0"/>
                      </a:lnTo>
                      <a:lnTo>
                        <a:pt x="786" y="417"/>
                      </a:lnTo>
                      <a:close/>
                    </a:path>
                  </a:pathLst>
                </a:custGeom>
                <a:solidFill>
                  <a:srgbClr val="C3D2D7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89" name="Freeform 6">
                  <a:extLst>
                    <a:ext uri="{FF2B5EF4-FFF2-40B4-BE49-F238E27FC236}">
                      <a16:creationId xmlns:a16="http://schemas.microsoft.com/office/drawing/2014/main" id="{3974117D-4E94-4199-A13D-824F05588C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030"/>
                  <a:ext cx="785" cy="417"/>
                </a:xfrm>
                <a:custGeom>
                  <a:avLst/>
                  <a:gdLst>
                    <a:gd name="T0" fmla="*/ 785 w 785"/>
                    <a:gd name="T1" fmla="*/ 417 h 417"/>
                    <a:gd name="T2" fmla="*/ 190 w 785"/>
                    <a:gd name="T3" fmla="*/ 417 h 417"/>
                    <a:gd name="T4" fmla="*/ 0 w 785"/>
                    <a:gd name="T5" fmla="*/ 0 h 417"/>
                    <a:gd name="T6" fmla="*/ 595 w 785"/>
                    <a:gd name="T7" fmla="*/ 0 h 417"/>
                    <a:gd name="T8" fmla="*/ 785 w 785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7">
                      <a:moveTo>
                        <a:pt x="785" y="417"/>
                      </a:moveTo>
                      <a:lnTo>
                        <a:pt x="190" y="417"/>
                      </a:lnTo>
                      <a:lnTo>
                        <a:pt x="0" y="0"/>
                      </a:lnTo>
                      <a:lnTo>
                        <a:pt x="595" y="0"/>
                      </a:lnTo>
                      <a:lnTo>
                        <a:pt x="785" y="417"/>
                      </a:lnTo>
                      <a:close/>
                    </a:path>
                  </a:pathLst>
                </a:custGeom>
                <a:solidFill>
                  <a:srgbClr val="164555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90" name="Freeform 7">
                  <a:extLst>
                    <a:ext uri="{FF2B5EF4-FFF2-40B4-BE49-F238E27FC236}">
                      <a16:creationId xmlns:a16="http://schemas.microsoft.com/office/drawing/2014/main" id="{B7E23278-F745-4A99-9B8F-8346F4B8C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447"/>
                  <a:ext cx="786" cy="416"/>
                </a:xfrm>
                <a:custGeom>
                  <a:avLst/>
                  <a:gdLst>
                    <a:gd name="T0" fmla="*/ 786 w 786"/>
                    <a:gd name="T1" fmla="*/ 0 h 416"/>
                    <a:gd name="T2" fmla="*/ 189 w 786"/>
                    <a:gd name="T3" fmla="*/ 0 h 416"/>
                    <a:gd name="T4" fmla="*/ 0 w 786"/>
                    <a:gd name="T5" fmla="*/ 416 h 416"/>
                    <a:gd name="T6" fmla="*/ 596 w 786"/>
                    <a:gd name="T7" fmla="*/ 416 h 416"/>
                    <a:gd name="T8" fmla="*/ 786 w 786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6">
                      <a:moveTo>
                        <a:pt x="786" y="0"/>
                      </a:moveTo>
                      <a:lnTo>
                        <a:pt x="189" y="0"/>
                      </a:lnTo>
                      <a:lnTo>
                        <a:pt x="0" y="416"/>
                      </a:lnTo>
                      <a:lnTo>
                        <a:pt x="596" y="416"/>
                      </a:lnTo>
                      <a:lnTo>
                        <a:pt x="78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91" name="Freeform 8">
                  <a:extLst>
                    <a:ext uri="{FF2B5EF4-FFF2-40B4-BE49-F238E27FC236}">
                      <a16:creationId xmlns:a16="http://schemas.microsoft.com/office/drawing/2014/main" id="{1F277E10-8B4C-4F7E-A087-1FD4B64094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447"/>
                  <a:ext cx="785" cy="416"/>
                </a:xfrm>
                <a:custGeom>
                  <a:avLst/>
                  <a:gdLst>
                    <a:gd name="T0" fmla="*/ 785 w 785"/>
                    <a:gd name="T1" fmla="*/ 0 h 416"/>
                    <a:gd name="T2" fmla="*/ 190 w 785"/>
                    <a:gd name="T3" fmla="*/ 0 h 416"/>
                    <a:gd name="T4" fmla="*/ 0 w 785"/>
                    <a:gd name="T5" fmla="*/ 416 h 416"/>
                    <a:gd name="T6" fmla="*/ 595 w 785"/>
                    <a:gd name="T7" fmla="*/ 416 h 416"/>
                    <a:gd name="T8" fmla="*/ 785 w 785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6">
                      <a:moveTo>
                        <a:pt x="785" y="0"/>
                      </a:moveTo>
                      <a:lnTo>
                        <a:pt x="190" y="0"/>
                      </a:lnTo>
                      <a:lnTo>
                        <a:pt x="0" y="416"/>
                      </a:lnTo>
                      <a:lnTo>
                        <a:pt x="595" y="416"/>
                      </a:lnTo>
                      <a:lnTo>
                        <a:pt x="785" y="0"/>
                      </a:lnTo>
                      <a:close/>
                    </a:path>
                  </a:pathLst>
                </a:custGeom>
                <a:solidFill>
                  <a:srgbClr val="1C5463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</p:grpSp>
          <p:sp>
            <p:nvSpPr>
              <p:cNvPr id="33829" name="TextBox 86">
                <a:extLst>
                  <a:ext uri="{FF2B5EF4-FFF2-40B4-BE49-F238E27FC236}">
                    <a16:creationId xmlns:a16="http://schemas.microsoft.com/office/drawing/2014/main" id="{B9D9491A-D4DE-4644-B95F-67861ED6496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554419" y="6160006"/>
                <a:ext cx="301686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uz-Cyrl-UZ" altLang="ru-RU" b="1">
                    <a:solidFill>
                      <a:schemeClr val="bg1"/>
                    </a:solidFill>
                  </a:rPr>
                  <a:t>3</a:t>
                </a:r>
                <a:endParaRPr lang="ru-RU" altLang="ru-RU" b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3805" name="Группа 99">
              <a:extLst>
                <a:ext uri="{FF2B5EF4-FFF2-40B4-BE49-F238E27FC236}">
                  <a16:creationId xmlns:a16="http://schemas.microsoft.com/office/drawing/2014/main" id="{F2BB6BEC-CC1B-445D-8F6E-C1E475A2BCA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778258" y="4483006"/>
              <a:ext cx="4329603" cy="2266855"/>
              <a:chOff x="4293936" y="4481566"/>
              <a:chExt cx="7654952" cy="2266855"/>
            </a:xfrm>
          </p:grpSpPr>
          <p:sp>
            <p:nvSpPr>
              <p:cNvPr id="101" name="Скругленный прямоугольник 45">
                <a:extLst>
                  <a:ext uri="{FF2B5EF4-FFF2-40B4-BE49-F238E27FC236}">
                    <a16:creationId xmlns:a16="http://schemas.microsoft.com/office/drawing/2014/main" id="{74F3EC10-50F8-4F07-BE50-AFB9D16A15F3}"/>
                  </a:ext>
                </a:extLst>
              </p:cNvPr>
              <p:cNvSpPr/>
              <p:nvPr/>
            </p:nvSpPr>
            <p:spPr>
              <a:xfrm>
                <a:off x="11497026" y="4522802"/>
                <a:ext cx="451862" cy="595483"/>
              </a:xfrm>
              <a:prstGeom prst="roundRect">
                <a:avLst/>
              </a:prstGeom>
              <a:solidFill>
                <a:srgbClr val="038E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102" name="Скругленный прямоугольник 17">
                <a:extLst>
                  <a:ext uri="{FF2B5EF4-FFF2-40B4-BE49-F238E27FC236}">
                    <a16:creationId xmlns:a16="http://schemas.microsoft.com/office/drawing/2014/main" id="{9C757E56-714D-4774-866C-13CF1B49C08A}"/>
                  </a:ext>
                </a:extLst>
              </p:cNvPr>
              <p:cNvSpPr/>
              <p:nvPr/>
            </p:nvSpPr>
            <p:spPr>
              <a:xfrm>
                <a:off x="4735944" y="4481515"/>
                <a:ext cx="7109099" cy="678057"/>
              </a:xfrm>
              <a:prstGeom prst="roundRect">
                <a:avLst/>
              </a:prstGeom>
              <a:solidFill>
                <a:srgbClr val="FBFBFB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uz-Cyrl-UZ" altLang="ru-RU" sz="1200" b="1">
                    <a:solidFill>
                      <a:srgbClr val="002060"/>
                    </a:solidFill>
                    <a:cs typeface="Calibri" panose="020F0502020204030204" pitchFamily="34" charset="0"/>
                  </a:rPr>
                  <a:t> </a:t>
                </a:r>
                <a:r>
                  <a:rPr lang="ru-RU" altLang="ru-RU" sz="1200" b="1">
                    <a:solidFill>
                      <a:srgbClr val="002060"/>
                    </a:solidFill>
                    <a:cs typeface="Calibri" panose="020F0502020204030204" pitchFamily="34" charset="0"/>
                  </a:rPr>
                  <a:t>Расширение масштабов обучения выпускников информационным технологиям и иностранным языкам</a:t>
                </a:r>
                <a:endParaRPr lang="zh-CN" altLang="en-US" sz="1200" b="1">
                  <a:solidFill>
                    <a:srgbClr val="002060"/>
                  </a:solidFill>
                  <a:sym typeface="Arial" panose="020B0604020202020204" pitchFamily="34" charset="0"/>
                </a:endParaRPr>
              </a:p>
            </p:txBody>
          </p:sp>
          <p:grpSp>
            <p:nvGrpSpPr>
              <p:cNvPr id="103" name="Group 4">
                <a:extLst>
                  <a:ext uri="{FF2B5EF4-FFF2-40B4-BE49-F238E27FC236}">
                    <a16:creationId xmlns:a16="http://schemas.microsoft.com/office/drawing/2014/main" id="{F54034CD-9206-4150-B491-B43F71BBD295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293936" y="4538797"/>
                <a:ext cx="698062" cy="595784"/>
                <a:chOff x="4091" y="1030"/>
                <a:chExt cx="976" cy="833"/>
              </a:xfrm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21" name="Freeform 5">
                  <a:extLst>
                    <a:ext uri="{FF2B5EF4-FFF2-40B4-BE49-F238E27FC236}">
                      <a16:creationId xmlns:a16="http://schemas.microsoft.com/office/drawing/2014/main" id="{D25A0555-C6BD-4C65-AC37-69257A8005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030"/>
                  <a:ext cx="786" cy="417"/>
                </a:xfrm>
                <a:custGeom>
                  <a:avLst/>
                  <a:gdLst>
                    <a:gd name="T0" fmla="*/ 786 w 786"/>
                    <a:gd name="T1" fmla="*/ 417 h 417"/>
                    <a:gd name="T2" fmla="*/ 189 w 786"/>
                    <a:gd name="T3" fmla="*/ 417 h 417"/>
                    <a:gd name="T4" fmla="*/ 0 w 786"/>
                    <a:gd name="T5" fmla="*/ 0 h 417"/>
                    <a:gd name="T6" fmla="*/ 596 w 786"/>
                    <a:gd name="T7" fmla="*/ 0 h 417"/>
                    <a:gd name="T8" fmla="*/ 786 w 786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7">
                      <a:moveTo>
                        <a:pt x="786" y="417"/>
                      </a:moveTo>
                      <a:lnTo>
                        <a:pt x="189" y="417"/>
                      </a:lnTo>
                      <a:lnTo>
                        <a:pt x="0" y="0"/>
                      </a:lnTo>
                      <a:lnTo>
                        <a:pt x="596" y="0"/>
                      </a:lnTo>
                      <a:lnTo>
                        <a:pt x="786" y="417"/>
                      </a:lnTo>
                      <a:close/>
                    </a:path>
                  </a:pathLst>
                </a:custGeom>
                <a:solidFill>
                  <a:srgbClr val="C3D2D7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122" name="Freeform 6">
                  <a:extLst>
                    <a:ext uri="{FF2B5EF4-FFF2-40B4-BE49-F238E27FC236}">
                      <a16:creationId xmlns:a16="http://schemas.microsoft.com/office/drawing/2014/main" id="{A951F3B0-2D8C-4086-B73A-03210BCEEA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030"/>
                  <a:ext cx="785" cy="417"/>
                </a:xfrm>
                <a:custGeom>
                  <a:avLst/>
                  <a:gdLst>
                    <a:gd name="T0" fmla="*/ 785 w 785"/>
                    <a:gd name="T1" fmla="*/ 417 h 417"/>
                    <a:gd name="T2" fmla="*/ 190 w 785"/>
                    <a:gd name="T3" fmla="*/ 417 h 417"/>
                    <a:gd name="T4" fmla="*/ 0 w 785"/>
                    <a:gd name="T5" fmla="*/ 0 h 417"/>
                    <a:gd name="T6" fmla="*/ 595 w 785"/>
                    <a:gd name="T7" fmla="*/ 0 h 417"/>
                    <a:gd name="T8" fmla="*/ 785 w 785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7">
                      <a:moveTo>
                        <a:pt x="785" y="417"/>
                      </a:moveTo>
                      <a:lnTo>
                        <a:pt x="190" y="417"/>
                      </a:lnTo>
                      <a:lnTo>
                        <a:pt x="0" y="0"/>
                      </a:lnTo>
                      <a:lnTo>
                        <a:pt x="595" y="0"/>
                      </a:lnTo>
                      <a:lnTo>
                        <a:pt x="785" y="417"/>
                      </a:lnTo>
                      <a:close/>
                    </a:path>
                  </a:pathLst>
                </a:custGeom>
                <a:solidFill>
                  <a:srgbClr val="164555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123" name="Freeform 7">
                  <a:extLst>
                    <a:ext uri="{FF2B5EF4-FFF2-40B4-BE49-F238E27FC236}">
                      <a16:creationId xmlns:a16="http://schemas.microsoft.com/office/drawing/2014/main" id="{3CCC88A3-7E0F-4CE1-8267-80919159DA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447"/>
                  <a:ext cx="786" cy="416"/>
                </a:xfrm>
                <a:custGeom>
                  <a:avLst/>
                  <a:gdLst>
                    <a:gd name="T0" fmla="*/ 786 w 786"/>
                    <a:gd name="T1" fmla="*/ 0 h 416"/>
                    <a:gd name="T2" fmla="*/ 189 w 786"/>
                    <a:gd name="T3" fmla="*/ 0 h 416"/>
                    <a:gd name="T4" fmla="*/ 0 w 786"/>
                    <a:gd name="T5" fmla="*/ 416 h 416"/>
                    <a:gd name="T6" fmla="*/ 596 w 786"/>
                    <a:gd name="T7" fmla="*/ 416 h 416"/>
                    <a:gd name="T8" fmla="*/ 786 w 786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6">
                      <a:moveTo>
                        <a:pt x="786" y="0"/>
                      </a:moveTo>
                      <a:lnTo>
                        <a:pt x="189" y="0"/>
                      </a:lnTo>
                      <a:lnTo>
                        <a:pt x="0" y="416"/>
                      </a:lnTo>
                      <a:lnTo>
                        <a:pt x="596" y="416"/>
                      </a:lnTo>
                      <a:lnTo>
                        <a:pt x="78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124" name="Freeform 8">
                  <a:extLst>
                    <a:ext uri="{FF2B5EF4-FFF2-40B4-BE49-F238E27FC236}">
                      <a16:creationId xmlns:a16="http://schemas.microsoft.com/office/drawing/2014/main" id="{0CDC2CCE-D14C-437D-9544-C3C078B3A7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447"/>
                  <a:ext cx="785" cy="416"/>
                </a:xfrm>
                <a:custGeom>
                  <a:avLst/>
                  <a:gdLst>
                    <a:gd name="T0" fmla="*/ 785 w 785"/>
                    <a:gd name="T1" fmla="*/ 0 h 416"/>
                    <a:gd name="T2" fmla="*/ 190 w 785"/>
                    <a:gd name="T3" fmla="*/ 0 h 416"/>
                    <a:gd name="T4" fmla="*/ 0 w 785"/>
                    <a:gd name="T5" fmla="*/ 416 h 416"/>
                    <a:gd name="T6" fmla="*/ 595 w 785"/>
                    <a:gd name="T7" fmla="*/ 416 h 416"/>
                    <a:gd name="T8" fmla="*/ 785 w 785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6">
                      <a:moveTo>
                        <a:pt x="785" y="0"/>
                      </a:moveTo>
                      <a:lnTo>
                        <a:pt x="190" y="0"/>
                      </a:lnTo>
                      <a:lnTo>
                        <a:pt x="0" y="416"/>
                      </a:lnTo>
                      <a:lnTo>
                        <a:pt x="595" y="416"/>
                      </a:lnTo>
                      <a:lnTo>
                        <a:pt x="785" y="0"/>
                      </a:lnTo>
                      <a:close/>
                    </a:path>
                  </a:pathLst>
                </a:custGeom>
                <a:solidFill>
                  <a:srgbClr val="1C5463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</p:grpSp>
          <p:sp>
            <p:nvSpPr>
              <p:cNvPr id="33809" name="TextBox 103">
                <a:extLst>
                  <a:ext uri="{FF2B5EF4-FFF2-40B4-BE49-F238E27FC236}">
                    <a16:creationId xmlns:a16="http://schemas.microsoft.com/office/drawing/2014/main" id="{D1A7F99D-7B9D-4F95-BB6E-F58543E0770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12307" y="4653372"/>
                <a:ext cx="553233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uz-Cyrl-UZ" altLang="ru-RU" b="1">
                    <a:solidFill>
                      <a:schemeClr val="bg1"/>
                    </a:solidFill>
                  </a:rPr>
                  <a:t>4</a:t>
                </a:r>
                <a:endParaRPr lang="ru-RU" altLang="ru-RU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Скругленный прямоугольник 45">
                <a:extLst>
                  <a:ext uri="{FF2B5EF4-FFF2-40B4-BE49-F238E27FC236}">
                    <a16:creationId xmlns:a16="http://schemas.microsoft.com/office/drawing/2014/main" id="{8B379FC7-6FF7-414E-B32C-5A9AE5E3DCEC}"/>
                  </a:ext>
                </a:extLst>
              </p:cNvPr>
              <p:cNvSpPr/>
              <p:nvPr/>
            </p:nvSpPr>
            <p:spPr>
              <a:xfrm>
                <a:off x="11525092" y="5278668"/>
                <a:ext cx="423796" cy="595483"/>
              </a:xfrm>
              <a:prstGeom prst="roundRect">
                <a:avLst/>
              </a:prstGeom>
              <a:solidFill>
                <a:srgbClr val="038E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106" name="Скругленный прямоугольник 17">
                <a:extLst>
                  <a:ext uri="{FF2B5EF4-FFF2-40B4-BE49-F238E27FC236}">
                    <a16:creationId xmlns:a16="http://schemas.microsoft.com/office/drawing/2014/main" id="{DCAEDBD0-B9F0-417E-BA65-B2B4942611FC}"/>
                  </a:ext>
                </a:extLst>
              </p:cNvPr>
              <p:cNvSpPr/>
              <p:nvPr/>
            </p:nvSpPr>
            <p:spPr>
              <a:xfrm>
                <a:off x="4839787" y="5237381"/>
                <a:ext cx="7005256" cy="678057"/>
              </a:xfrm>
              <a:prstGeom prst="roundRect">
                <a:avLst/>
              </a:prstGeom>
              <a:solidFill>
                <a:srgbClr val="FBFBFB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ru-RU" altLang="ru-RU" sz="1200" b="1">
                    <a:solidFill>
                      <a:srgbClr val="002060"/>
                    </a:solidFill>
                    <a:cs typeface="Calibri" panose="020F0502020204030204" pitchFamily="34" charset="0"/>
                  </a:rPr>
                  <a:t>Обеспечение занятости за счет самозанятости</a:t>
                </a:r>
              </a:p>
            </p:txBody>
          </p:sp>
          <p:grpSp>
            <p:nvGrpSpPr>
              <p:cNvPr id="107" name="Group 4">
                <a:extLst>
                  <a:ext uri="{FF2B5EF4-FFF2-40B4-BE49-F238E27FC236}">
                    <a16:creationId xmlns:a16="http://schemas.microsoft.com/office/drawing/2014/main" id="{EFCF21F4-B2D4-46A0-B857-FD7E2492D92E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301063" y="5289533"/>
                <a:ext cx="698062" cy="595784"/>
                <a:chOff x="4091" y="1030"/>
                <a:chExt cx="976" cy="833"/>
              </a:xfrm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17" name="Freeform 5">
                  <a:extLst>
                    <a:ext uri="{FF2B5EF4-FFF2-40B4-BE49-F238E27FC236}">
                      <a16:creationId xmlns:a16="http://schemas.microsoft.com/office/drawing/2014/main" id="{836DE08E-57AA-4960-BCFA-A6E6B3E9F3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030"/>
                  <a:ext cx="786" cy="417"/>
                </a:xfrm>
                <a:custGeom>
                  <a:avLst/>
                  <a:gdLst>
                    <a:gd name="T0" fmla="*/ 786 w 786"/>
                    <a:gd name="T1" fmla="*/ 417 h 417"/>
                    <a:gd name="T2" fmla="*/ 189 w 786"/>
                    <a:gd name="T3" fmla="*/ 417 h 417"/>
                    <a:gd name="T4" fmla="*/ 0 w 786"/>
                    <a:gd name="T5" fmla="*/ 0 h 417"/>
                    <a:gd name="T6" fmla="*/ 596 w 786"/>
                    <a:gd name="T7" fmla="*/ 0 h 417"/>
                    <a:gd name="T8" fmla="*/ 786 w 786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7">
                      <a:moveTo>
                        <a:pt x="786" y="417"/>
                      </a:moveTo>
                      <a:lnTo>
                        <a:pt x="189" y="417"/>
                      </a:lnTo>
                      <a:lnTo>
                        <a:pt x="0" y="0"/>
                      </a:lnTo>
                      <a:lnTo>
                        <a:pt x="596" y="0"/>
                      </a:lnTo>
                      <a:lnTo>
                        <a:pt x="786" y="417"/>
                      </a:lnTo>
                      <a:close/>
                    </a:path>
                  </a:pathLst>
                </a:custGeom>
                <a:solidFill>
                  <a:srgbClr val="C3D2D7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118" name="Freeform 6">
                  <a:extLst>
                    <a:ext uri="{FF2B5EF4-FFF2-40B4-BE49-F238E27FC236}">
                      <a16:creationId xmlns:a16="http://schemas.microsoft.com/office/drawing/2014/main" id="{C8D11E67-940A-46B3-87BE-0722471BD1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030"/>
                  <a:ext cx="785" cy="417"/>
                </a:xfrm>
                <a:custGeom>
                  <a:avLst/>
                  <a:gdLst>
                    <a:gd name="T0" fmla="*/ 785 w 785"/>
                    <a:gd name="T1" fmla="*/ 417 h 417"/>
                    <a:gd name="T2" fmla="*/ 190 w 785"/>
                    <a:gd name="T3" fmla="*/ 417 h 417"/>
                    <a:gd name="T4" fmla="*/ 0 w 785"/>
                    <a:gd name="T5" fmla="*/ 0 h 417"/>
                    <a:gd name="T6" fmla="*/ 595 w 785"/>
                    <a:gd name="T7" fmla="*/ 0 h 417"/>
                    <a:gd name="T8" fmla="*/ 785 w 785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7">
                      <a:moveTo>
                        <a:pt x="785" y="417"/>
                      </a:moveTo>
                      <a:lnTo>
                        <a:pt x="190" y="417"/>
                      </a:lnTo>
                      <a:lnTo>
                        <a:pt x="0" y="0"/>
                      </a:lnTo>
                      <a:lnTo>
                        <a:pt x="595" y="0"/>
                      </a:lnTo>
                      <a:lnTo>
                        <a:pt x="785" y="417"/>
                      </a:lnTo>
                      <a:close/>
                    </a:path>
                  </a:pathLst>
                </a:custGeom>
                <a:solidFill>
                  <a:srgbClr val="164555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119" name="Freeform 7">
                  <a:extLst>
                    <a:ext uri="{FF2B5EF4-FFF2-40B4-BE49-F238E27FC236}">
                      <a16:creationId xmlns:a16="http://schemas.microsoft.com/office/drawing/2014/main" id="{EF09E315-1CE7-412F-A72E-E4B4724819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447"/>
                  <a:ext cx="786" cy="416"/>
                </a:xfrm>
                <a:custGeom>
                  <a:avLst/>
                  <a:gdLst>
                    <a:gd name="T0" fmla="*/ 786 w 786"/>
                    <a:gd name="T1" fmla="*/ 0 h 416"/>
                    <a:gd name="T2" fmla="*/ 189 w 786"/>
                    <a:gd name="T3" fmla="*/ 0 h 416"/>
                    <a:gd name="T4" fmla="*/ 0 w 786"/>
                    <a:gd name="T5" fmla="*/ 416 h 416"/>
                    <a:gd name="T6" fmla="*/ 596 w 786"/>
                    <a:gd name="T7" fmla="*/ 416 h 416"/>
                    <a:gd name="T8" fmla="*/ 786 w 786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6">
                      <a:moveTo>
                        <a:pt x="786" y="0"/>
                      </a:moveTo>
                      <a:lnTo>
                        <a:pt x="189" y="0"/>
                      </a:lnTo>
                      <a:lnTo>
                        <a:pt x="0" y="416"/>
                      </a:lnTo>
                      <a:lnTo>
                        <a:pt x="596" y="416"/>
                      </a:lnTo>
                      <a:lnTo>
                        <a:pt x="78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120" name="Freeform 8">
                  <a:extLst>
                    <a:ext uri="{FF2B5EF4-FFF2-40B4-BE49-F238E27FC236}">
                      <a16:creationId xmlns:a16="http://schemas.microsoft.com/office/drawing/2014/main" id="{44890985-44F9-4EFC-A529-806077B90D7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447"/>
                  <a:ext cx="785" cy="416"/>
                </a:xfrm>
                <a:custGeom>
                  <a:avLst/>
                  <a:gdLst>
                    <a:gd name="T0" fmla="*/ 785 w 785"/>
                    <a:gd name="T1" fmla="*/ 0 h 416"/>
                    <a:gd name="T2" fmla="*/ 190 w 785"/>
                    <a:gd name="T3" fmla="*/ 0 h 416"/>
                    <a:gd name="T4" fmla="*/ 0 w 785"/>
                    <a:gd name="T5" fmla="*/ 416 h 416"/>
                    <a:gd name="T6" fmla="*/ 595 w 785"/>
                    <a:gd name="T7" fmla="*/ 416 h 416"/>
                    <a:gd name="T8" fmla="*/ 785 w 785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6">
                      <a:moveTo>
                        <a:pt x="785" y="0"/>
                      </a:moveTo>
                      <a:lnTo>
                        <a:pt x="190" y="0"/>
                      </a:lnTo>
                      <a:lnTo>
                        <a:pt x="0" y="416"/>
                      </a:lnTo>
                      <a:lnTo>
                        <a:pt x="595" y="416"/>
                      </a:lnTo>
                      <a:lnTo>
                        <a:pt x="785" y="0"/>
                      </a:lnTo>
                      <a:close/>
                    </a:path>
                  </a:pathLst>
                </a:custGeom>
                <a:solidFill>
                  <a:srgbClr val="1C5463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</p:grpSp>
          <p:sp>
            <p:nvSpPr>
              <p:cNvPr id="33813" name="TextBox 107">
                <a:extLst>
                  <a:ext uri="{FF2B5EF4-FFF2-40B4-BE49-F238E27FC236}">
                    <a16:creationId xmlns:a16="http://schemas.microsoft.com/office/drawing/2014/main" id="{17CF03D9-A5D9-4A74-AF0F-10B5F345A6B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16644" y="5389809"/>
                <a:ext cx="553233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uz-Cyrl-UZ" altLang="ru-RU" b="1">
                    <a:solidFill>
                      <a:schemeClr val="bg1"/>
                    </a:solidFill>
                  </a:rPr>
                  <a:t>5</a:t>
                </a:r>
                <a:endParaRPr lang="ru-RU" altLang="ru-RU" b="1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Скругленный прямоугольник 45">
                <a:extLst>
                  <a:ext uri="{FF2B5EF4-FFF2-40B4-BE49-F238E27FC236}">
                    <a16:creationId xmlns:a16="http://schemas.microsoft.com/office/drawing/2014/main" id="{FA576268-BB65-48B9-917D-38466B0B22A0}"/>
                  </a:ext>
                </a:extLst>
              </p:cNvPr>
              <p:cNvSpPr/>
              <p:nvPr/>
            </p:nvSpPr>
            <p:spPr>
              <a:xfrm>
                <a:off x="11525092" y="6075821"/>
                <a:ext cx="423796" cy="597071"/>
              </a:xfrm>
              <a:prstGeom prst="roundRect">
                <a:avLst/>
              </a:prstGeom>
              <a:solidFill>
                <a:srgbClr val="038EB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/>
              </a:p>
            </p:txBody>
          </p:sp>
          <p:sp>
            <p:nvSpPr>
              <p:cNvPr id="110" name="Скругленный прямоугольник 17">
                <a:extLst>
                  <a:ext uri="{FF2B5EF4-FFF2-40B4-BE49-F238E27FC236}">
                    <a16:creationId xmlns:a16="http://schemas.microsoft.com/office/drawing/2014/main" id="{5D82A15A-BD44-4C3C-8D10-93DB94168C28}"/>
                  </a:ext>
                </a:extLst>
              </p:cNvPr>
              <p:cNvSpPr/>
              <p:nvPr/>
            </p:nvSpPr>
            <p:spPr>
              <a:xfrm>
                <a:off x="4764010" y="6036123"/>
                <a:ext cx="7092260" cy="712991"/>
              </a:xfrm>
              <a:prstGeom prst="roundRect">
                <a:avLst/>
              </a:prstGeom>
              <a:solidFill>
                <a:srgbClr val="FBFBFB"/>
              </a:solidFill>
              <a:ln>
                <a:noFill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ru-RU" altLang="zh-CN" sz="1200" b="1">
                    <a:solidFill>
                      <a:srgbClr val="002060"/>
                    </a:solidFill>
                    <a:cs typeface="Arial" panose="020B0604020202020204" pitchFamily="34" charset="0"/>
                    <a:sym typeface="Arial" panose="020B0604020202020204" pitchFamily="34" charset="0"/>
                  </a:rPr>
                  <a:t>Налаживание работодателями полного процесса приема на работу сотрудников имеющие дипломы и сертификаты</a:t>
                </a:r>
              </a:p>
            </p:txBody>
          </p:sp>
          <p:grpSp>
            <p:nvGrpSpPr>
              <p:cNvPr id="111" name="Group 4">
                <a:extLst>
                  <a:ext uri="{FF2B5EF4-FFF2-40B4-BE49-F238E27FC236}">
                    <a16:creationId xmlns:a16="http://schemas.microsoft.com/office/drawing/2014/main" id="{16E69FC0-DD11-4A59-867B-EC1AFD808139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4301063" y="6075509"/>
                <a:ext cx="698062" cy="595784"/>
                <a:chOff x="4091" y="1030"/>
                <a:chExt cx="976" cy="833"/>
              </a:xfrm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</p:grpSpPr>
            <p:sp>
              <p:nvSpPr>
                <p:cNvPr id="113" name="Freeform 5">
                  <a:extLst>
                    <a:ext uri="{FF2B5EF4-FFF2-40B4-BE49-F238E27FC236}">
                      <a16:creationId xmlns:a16="http://schemas.microsoft.com/office/drawing/2014/main" id="{D5D40CCA-94B3-4196-8170-6ABE4BE9D9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030"/>
                  <a:ext cx="786" cy="417"/>
                </a:xfrm>
                <a:custGeom>
                  <a:avLst/>
                  <a:gdLst>
                    <a:gd name="T0" fmla="*/ 786 w 786"/>
                    <a:gd name="T1" fmla="*/ 417 h 417"/>
                    <a:gd name="T2" fmla="*/ 189 w 786"/>
                    <a:gd name="T3" fmla="*/ 417 h 417"/>
                    <a:gd name="T4" fmla="*/ 0 w 786"/>
                    <a:gd name="T5" fmla="*/ 0 h 417"/>
                    <a:gd name="T6" fmla="*/ 596 w 786"/>
                    <a:gd name="T7" fmla="*/ 0 h 417"/>
                    <a:gd name="T8" fmla="*/ 786 w 786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7">
                      <a:moveTo>
                        <a:pt x="786" y="417"/>
                      </a:moveTo>
                      <a:lnTo>
                        <a:pt x="189" y="417"/>
                      </a:lnTo>
                      <a:lnTo>
                        <a:pt x="0" y="0"/>
                      </a:lnTo>
                      <a:lnTo>
                        <a:pt x="596" y="0"/>
                      </a:lnTo>
                      <a:lnTo>
                        <a:pt x="786" y="417"/>
                      </a:lnTo>
                      <a:close/>
                    </a:path>
                  </a:pathLst>
                </a:custGeom>
                <a:solidFill>
                  <a:srgbClr val="C3D2D7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114" name="Freeform 6">
                  <a:extLst>
                    <a:ext uri="{FF2B5EF4-FFF2-40B4-BE49-F238E27FC236}">
                      <a16:creationId xmlns:a16="http://schemas.microsoft.com/office/drawing/2014/main" id="{634999B1-3EF0-47BA-A1C8-A494AF7DCD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030"/>
                  <a:ext cx="785" cy="417"/>
                </a:xfrm>
                <a:custGeom>
                  <a:avLst/>
                  <a:gdLst>
                    <a:gd name="T0" fmla="*/ 785 w 785"/>
                    <a:gd name="T1" fmla="*/ 417 h 417"/>
                    <a:gd name="T2" fmla="*/ 190 w 785"/>
                    <a:gd name="T3" fmla="*/ 417 h 417"/>
                    <a:gd name="T4" fmla="*/ 0 w 785"/>
                    <a:gd name="T5" fmla="*/ 0 h 417"/>
                    <a:gd name="T6" fmla="*/ 595 w 785"/>
                    <a:gd name="T7" fmla="*/ 0 h 417"/>
                    <a:gd name="T8" fmla="*/ 785 w 785"/>
                    <a:gd name="T9" fmla="*/ 417 h 4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7">
                      <a:moveTo>
                        <a:pt x="785" y="417"/>
                      </a:moveTo>
                      <a:lnTo>
                        <a:pt x="190" y="417"/>
                      </a:lnTo>
                      <a:lnTo>
                        <a:pt x="0" y="0"/>
                      </a:lnTo>
                      <a:lnTo>
                        <a:pt x="595" y="0"/>
                      </a:lnTo>
                      <a:lnTo>
                        <a:pt x="785" y="417"/>
                      </a:lnTo>
                      <a:close/>
                    </a:path>
                  </a:pathLst>
                </a:custGeom>
                <a:solidFill>
                  <a:srgbClr val="164555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115" name="Freeform 7">
                  <a:extLst>
                    <a:ext uri="{FF2B5EF4-FFF2-40B4-BE49-F238E27FC236}">
                      <a16:creationId xmlns:a16="http://schemas.microsoft.com/office/drawing/2014/main" id="{15A25C86-A226-412C-9AAC-9AB89BD8D8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091" y="1447"/>
                  <a:ext cx="786" cy="416"/>
                </a:xfrm>
                <a:custGeom>
                  <a:avLst/>
                  <a:gdLst>
                    <a:gd name="T0" fmla="*/ 786 w 786"/>
                    <a:gd name="T1" fmla="*/ 0 h 416"/>
                    <a:gd name="T2" fmla="*/ 189 w 786"/>
                    <a:gd name="T3" fmla="*/ 0 h 416"/>
                    <a:gd name="T4" fmla="*/ 0 w 786"/>
                    <a:gd name="T5" fmla="*/ 416 h 416"/>
                    <a:gd name="T6" fmla="*/ 596 w 786"/>
                    <a:gd name="T7" fmla="*/ 416 h 416"/>
                    <a:gd name="T8" fmla="*/ 786 w 786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6" h="416">
                      <a:moveTo>
                        <a:pt x="786" y="0"/>
                      </a:moveTo>
                      <a:lnTo>
                        <a:pt x="189" y="0"/>
                      </a:lnTo>
                      <a:lnTo>
                        <a:pt x="0" y="416"/>
                      </a:lnTo>
                      <a:lnTo>
                        <a:pt x="596" y="416"/>
                      </a:lnTo>
                      <a:lnTo>
                        <a:pt x="78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  <p:sp>
              <p:nvSpPr>
                <p:cNvPr id="116" name="Freeform 8">
                  <a:extLst>
                    <a:ext uri="{FF2B5EF4-FFF2-40B4-BE49-F238E27FC236}">
                      <a16:creationId xmlns:a16="http://schemas.microsoft.com/office/drawing/2014/main" id="{0FF3B645-D0D4-4D27-8FAD-FE5BE3ACA6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82" y="1447"/>
                  <a:ext cx="785" cy="416"/>
                </a:xfrm>
                <a:custGeom>
                  <a:avLst/>
                  <a:gdLst>
                    <a:gd name="T0" fmla="*/ 785 w 785"/>
                    <a:gd name="T1" fmla="*/ 0 h 416"/>
                    <a:gd name="T2" fmla="*/ 190 w 785"/>
                    <a:gd name="T3" fmla="*/ 0 h 416"/>
                    <a:gd name="T4" fmla="*/ 0 w 785"/>
                    <a:gd name="T5" fmla="*/ 416 h 416"/>
                    <a:gd name="T6" fmla="*/ 595 w 785"/>
                    <a:gd name="T7" fmla="*/ 416 h 416"/>
                    <a:gd name="T8" fmla="*/ 785 w 785"/>
                    <a:gd name="T9" fmla="*/ 0 h 4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5" h="416">
                      <a:moveTo>
                        <a:pt x="785" y="0"/>
                      </a:moveTo>
                      <a:lnTo>
                        <a:pt x="190" y="0"/>
                      </a:lnTo>
                      <a:lnTo>
                        <a:pt x="0" y="416"/>
                      </a:lnTo>
                      <a:lnTo>
                        <a:pt x="595" y="416"/>
                      </a:lnTo>
                      <a:lnTo>
                        <a:pt x="785" y="0"/>
                      </a:lnTo>
                      <a:close/>
                    </a:path>
                  </a:pathLst>
                </a:custGeom>
                <a:solidFill>
                  <a:srgbClr val="1C5463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ru-RU">
                    <a:latin typeface="+mn-lt"/>
                  </a:endParaRPr>
                </a:p>
              </p:txBody>
            </p:sp>
          </p:grpSp>
          <p:sp>
            <p:nvSpPr>
              <p:cNvPr id="33817" name="TextBox 111">
                <a:extLst>
                  <a:ext uri="{FF2B5EF4-FFF2-40B4-BE49-F238E27FC236}">
                    <a16:creationId xmlns:a16="http://schemas.microsoft.com/office/drawing/2014/main" id="{5F47B33D-A930-4D67-AEF7-835EEEE9156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428645" y="6160006"/>
                <a:ext cx="553233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/>
                <a:r>
                  <a:rPr lang="uz-Cyrl-UZ" altLang="ru-RU" b="1">
                    <a:solidFill>
                      <a:schemeClr val="bg1"/>
                    </a:solidFill>
                  </a:rPr>
                  <a:t>6</a:t>
                </a:r>
                <a:endParaRPr lang="ru-RU" altLang="ru-RU" b="1">
                  <a:solidFill>
                    <a:schemeClr val="bg1"/>
                  </a:solidFill>
                </a:endParaRPr>
              </a:p>
            </p:txBody>
          </p:sp>
        </p:grpSp>
      </p:grp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 nodeType="afterGroup">
                            <p:stCondLst>
                              <p:cond delay="75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125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 nodeType="afterGroup">
                            <p:stCondLst>
                              <p:cond delay="1750"/>
                            </p:stCondLst>
                            <p:childTnLst>
                              <p:par>
                                <p:cTn id="26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 nodeType="clickPar">
                      <p:stCondLst>
                        <p:cond delay="indefinite"/>
                      </p:stCondLst>
                      <p:childTnLst>
                        <p:par>
                          <p:cTn id="3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Прямоугольник 90">
            <a:extLst>
              <a:ext uri="{FF2B5EF4-FFF2-40B4-BE49-F238E27FC236}">
                <a16:creationId xmlns:a16="http://schemas.microsoft.com/office/drawing/2014/main" id="{477F7071-33F7-4394-9A46-083E54467502}"/>
              </a:ext>
            </a:extLst>
          </p:cNvPr>
          <p:cNvSpPr/>
          <p:nvPr/>
        </p:nvSpPr>
        <p:spPr>
          <a:xfrm>
            <a:off x="104775" y="5018088"/>
            <a:ext cx="11972925" cy="171767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 eaLnBrk="1" fontAlgn="auto" hangingPunct="1">
              <a:spcAft>
                <a:spcPts val="0"/>
              </a:spcAft>
              <a:defRPr/>
            </a:pPr>
            <a:endParaRPr lang="ru-RU" sz="1300" b="1" dirty="0">
              <a:solidFill>
                <a:srgbClr val="FFC000"/>
              </a:solidFill>
              <a:cs typeface="Arial" panose="020B0604020202020204" pitchFamily="34" charset="0"/>
            </a:endParaRPr>
          </a:p>
        </p:txBody>
      </p:sp>
      <p:cxnSp>
        <p:nvCxnSpPr>
          <p:cNvPr id="98" name="Прямая соединительная линия 97">
            <a:extLst>
              <a:ext uri="{FF2B5EF4-FFF2-40B4-BE49-F238E27FC236}">
                <a16:creationId xmlns:a16="http://schemas.microsoft.com/office/drawing/2014/main" id="{7C3C4695-ED2E-48A2-9D34-CC13FF1681CF}"/>
              </a:ext>
            </a:extLst>
          </p:cNvPr>
          <p:cNvCxnSpPr/>
          <p:nvPr/>
        </p:nvCxnSpPr>
        <p:spPr>
          <a:xfrm rot="16200000" flipV="1">
            <a:off x="3316288" y="5730875"/>
            <a:ext cx="665162" cy="7938"/>
          </a:xfrm>
          <a:prstGeom prst="line">
            <a:avLst/>
          </a:prstGeom>
          <a:ln w="38100">
            <a:solidFill>
              <a:srgbClr val="004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>
            <a:extLst>
              <a:ext uri="{FF2B5EF4-FFF2-40B4-BE49-F238E27FC236}">
                <a16:creationId xmlns:a16="http://schemas.microsoft.com/office/drawing/2014/main" id="{323CC9EB-9AC7-4E27-96DA-7F2D27A3D785}"/>
              </a:ext>
            </a:extLst>
          </p:cNvPr>
          <p:cNvCxnSpPr/>
          <p:nvPr/>
        </p:nvCxnSpPr>
        <p:spPr>
          <a:xfrm rot="16200000" flipV="1">
            <a:off x="5068095" y="5730081"/>
            <a:ext cx="665162" cy="9525"/>
          </a:xfrm>
          <a:prstGeom prst="line">
            <a:avLst/>
          </a:prstGeom>
          <a:ln w="38100">
            <a:solidFill>
              <a:srgbClr val="004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единительная линия 95">
            <a:extLst>
              <a:ext uri="{FF2B5EF4-FFF2-40B4-BE49-F238E27FC236}">
                <a16:creationId xmlns:a16="http://schemas.microsoft.com/office/drawing/2014/main" id="{23FC3571-497B-44ED-BF67-D9C234067170}"/>
              </a:ext>
            </a:extLst>
          </p:cNvPr>
          <p:cNvCxnSpPr/>
          <p:nvPr/>
        </p:nvCxnSpPr>
        <p:spPr>
          <a:xfrm rot="16200000" flipV="1">
            <a:off x="6826250" y="5729288"/>
            <a:ext cx="663575" cy="9525"/>
          </a:xfrm>
          <a:prstGeom prst="line">
            <a:avLst/>
          </a:prstGeom>
          <a:ln w="38100">
            <a:solidFill>
              <a:srgbClr val="004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единительная линия 93">
            <a:extLst>
              <a:ext uri="{FF2B5EF4-FFF2-40B4-BE49-F238E27FC236}">
                <a16:creationId xmlns:a16="http://schemas.microsoft.com/office/drawing/2014/main" id="{638AC832-C3CB-43C8-8530-C1DCBE21E054}"/>
              </a:ext>
            </a:extLst>
          </p:cNvPr>
          <p:cNvCxnSpPr/>
          <p:nvPr/>
        </p:nvCxnSpPr>
        <p:spPr>
          <a:xfrm rot="16200000" flipV="1">
            <a:off x="10471151" y="5730875"/>
            <a:ext cx="665162" cy="7937"/>
          </a:xfrm>
          <a:prstGeom prst="line">
            <a:avLst/>
          </a:prstGeom>
          <a:ln w="38100">
            <a:solidFill>
              <a:srgbClr val="004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>
            <a:extLst>
              <a:ext uri="{FF2B5EF4-FFF2-40B4-BE49-F238E27FC236}">
                <a16:creationId xmlns:a16="http://schemas.microsoft.com/office/drawing/2014/main" id="{54E1D09C-F515-42DA-BE56-0754DF074B50}"/>
              </a:ext>
            </a:extLst>
          </p:cNvPr>
          <p:cNvCxnSpPr/>
          <p:nvPr/>
        </p:nvCxnSpPr>
        <p:spPr>
          <a:xfrm rot="16200000" flipV="1">
            <a:off x="8651876" y="5734050"/>
            <a:ext cx="665162" cy="7937"/>
          </a:xfrm>
          <a:prstGeom prst="line">
            <a:avLst/>
          </a:prstGeom>
          <a:ln w="38100">
            <a:solidFill>
              <a:srgbClr val="004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7BADFED4-1015-492F-997E-7070158B0EA8}"/>
              </a:ext>
            </a:extLst>
          </p:cNvPr>
          <p:cNvCxnSpPr/>
          <p:nvPr/>
        </p:nvCxnSpPr>
        <p:spPr>
          <a:xfrm flipV="1">
            <a:off x="1949450" y="5438775"/>
            <a:ext cx="8861425" cy="3175"/>
          </a:xfrm>
          <a:prstGeom prst="line">
            <a:avLst/>
          </a:prstGeom>
          <a:ln w="38100">
            <a:solidFill>
              <a:srgbClr val="004E6E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>
            <a:extLst>
              <a:ext uri="{FF2B5EF4-FFF2-40B4-BE49-F238E27FC236}">
                <a16:creationId xmlns:a16="http://schemas.microsoft.com/office/drawing/2014/main" id="{3B05CC54-9357-4E1E-ACEC-E55EB1FF7C62}"/>
              </a:ext>
            </a:extLst>
          </p:cNvPr>
          <p:cNvSpPr/>
          <p:nvPr/>
        </p:nvSpPr>
        <p:spPr>
          <a:xfrm>
            <a:off x="6156325" y="989013"/>
            <a:ext cx="5921375" cy="393541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 eaLnBrk="1" fontAlgn="auto" hangingPunct="1">
              <a:spcAft>
                <a:spcPts val="0"/>
              </a:spcAft>
              <a:defRPr/>
            </a:pPr>
            <a:endParaRPr lang="ru-RU" sz="1300" b="1" dirty="0">
              <a:solidFill>
                <a:srgbClr val="FFC000"/>
              </a:solidFill>
              <a:cs typeface="Arial" panose="020B0604020202020204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C04BBE63-C381-46E1-BFC2-62746AB90F5F}"/>
              </a:ext>
            </a:extLst>
          </p:cNvPr>
          <p:cNvSpPr/>
          <p:nvPr/>
        </p:nvSpPr>
        <p:spPr>
          <a:xfrm>
            <a:off x="104775" y="128588"/>
            <a:ext cx="11972925" cy="712787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>
                <a:lumMod val="75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11200" eaLnBrk="1" fontAlgn="auto" hangingPunct="1">
              <a:spcAft>
                <a:spcPts val="0"/>
              </a:spcAft>
              <a:defRPr/>
            </a:pPr>
            <a:endParaRPr lang="ru-RU" sz="1300" b="1" dirty="0">
              <a:solidFill>
                <a:srgbClr val="FFC000"/>
              </a:solidFill>
              <a:cs typeface="Arial" panose="020B0604020202020204" pitchFamily="34" charset="0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7D931980-3D1D-42D1-9827-745DF3DAE8FA}"/>
              </a:ext>
            </a:extLst>
          </p:cNvPr>
          <p:cNvSpPr/>
          <p:nvPr/>
        </p:nvSpPr>
        <p:spPr>
          <a:xfrm>
            <a:off x="1808163" y="230188"/>
            <a:ext cx="8575675" cy="5095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z-Cyrl-UZ" b="1" kern="0" dirty="0">
                <a:solidFill>
                  <a:srgbClr val="002060"/>
                </a:solidFill>
                <a:cs typeface="Arial" panose="020B0604020202020204" pitchFamily="34" charset="0"/>
                <a:sym typeface="Helvetica Light"/>
              </a:rPr>
              <a:t>ЦИФРОВИЗАЦИЯ ПРОЦЕССОВ ПРОФЕССИОНАЛЬНОГО ОБУЧЕНИЯ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57407161-D94D-4EFC-A769-679FD66CF4B2}"/>
              </a:ext>
            </a:extLst>
          </p:cNvPr>
          <p:cNvGrpSpPr>
            <a:grpSpLocks/>
          </p:cNvGrpSpPr>
          <p:nvPr/>
        </p:nvGrpSpPr>
        <p:grpSpPr bwMode="auto">
          <a:xfrm>
            <a:off x="6350" y="989013"/>
            <a:ext cx="5972175" cy="3935412"/>
            <a:chOff x="43437" y="988417"/>
            <a:chExt cx="5972450" cy="3935559"/>
          </a:xfrm>
        </p:grpSpPr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id="{DFE01043-1788-4E4B-B7BB-A2A82A718016}"/>
                </a:ext>
              </a:extLst>
            </p:cNvPr>
            <p:cNvSpPr/>
            <p:nvPr/>
          </p:nvSpPr>
          <p:spPr>
            <a:xfrm>
              <a:off x="105353" y="988417"/>
              <a:ext cx="5910534" cy="39355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711200" eaLnBrk="1" fontAlgn="auto" hangingPunct="1">
                <a:spcAft>
                  <a:spcPts val="0"/>
                </a:spcAft>
                <a:defRPr/>
              </a:pPr>
              <a:endParaRPr lang="ru-RU" sz="1300" b="1" dirty="0">
                <a:solidFill>
                  <a:srgbClr val="FFC000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35" name="Picture 2" descr="Start - EMIS Gruppe">
              <a:extLst>
                <a:ext uri="{FF2B5EF4-FFF2-40B4-BE49-F238E27FC236}">
                  <a16:creationId xmlns:a16="http://schemas.microsoft.com/office/drawing/2014/main" id="{4AE7BC1A-7911-4BAC-88DD-6EA12AEE333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hqprint"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 l="32291" r="2302"/>
            <a:stretch/>
          </p:blipFill>
          <p:spPr bwMode="auto">
            <a:xfrm>
              <a:off x="4346183" y="1081596"/>
              <a:ext cx="1540022" cy="542996"/>
            </a:xfrm>
            <a:prstGeom prst="rect">
              <a:avLst/>
            </a:prstGeom>
            <a:noFill/>
          </p:spPr>
        </p:pic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31ED7953-ABBD-439B-A433-5BB8720F90BE}"/>
                </a:ext>
              </a:extLst>
            </p:cNvPr>
            <p:cNvSpPr/>
            <p:nvPr/>
          </p:nvSpPr>
          <p:spPr>
            <a:xfrm>
              <a:off x="721331" y="1097958"/>
              <a:ext cx="3692695" cy="50960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b="1" kern="0" dirty="0">
                  <a:solidFill>
                    <a:srgbClr val="20353F"/>
                  </a:solidFill>
                  <a:cs typeface="Arial" panose="020B0604020202020204" pitchFamily="34" charset="0"/>
                  <a:sym typeface="Helvetica Light"/>
                </a:rPr>
                <a:t>ИНТЕГРАЦИЯ СИСТЕМЫ </a:t>
              </a:r>
              <a:endParaRPr lang="en-US" sz="2000" b="1" kern="0" dirty="0">
                <a:solidFill>
                  <a:srgbClr val="20353F"/>
                </a:solidFill>
                <a:cs typeface="Arial" panose="020B0604020202020204" pitchFamily="34" charset="0"/>
                <a:sym typeface="Helvetica Light"/>
              </a:endParaRPr>
            </a:p>
          </p:txBody>
        </p:sp>
        <p:grpSp>
          <p:nvGrpSpPr>
            <p:cNvPr id="35909" name="Группа 8">
              <a:extLst>
                <a:ext uri="{FF2B5EF4-FFF2-40B4-BE49-F238E27FC236}">
                  <a16:creationId xmlns:a16="http://schemas.microsoft.com/office/drawing/2014/main" id="{B8A6825D-4724-4096-9A15-C5490559414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3437" y="1469657"/>
              <a:ext cx="5919216" cy="3362857"/>
              <a:chOff x="6792697" y="841453"/>
              <a:chExt cx="4871828" cy="3082525"/>
            </a:xfrm>
          </p:grpSpPr>
          <p:graphicFrame>
            <p:nvGraphicFramePr>
              <p:cNvPr id="34" name="Схема 33">
                <a:extLst>
                  <a:ext uri="{FF2B5EF4-FFF2-40B4-BE49-F238E27FC236}">
                    <a16:creationId xmlns:a16="http://schemas.microsoft.com/office/drawing/2014/main" id="{1FDF0796-8C93-4221-9590-ADEA2FA2CEBB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943130611"/>
                  </p:ext>
                </p:extLst>
              </p:nvPr>
            </p:nvGraphicFramePr>
            <p:xfrm>
              <a:off x="6814154" y="841453"/>
              <a:ext cx="4850371" cy="3082525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4" r:lo="rId5" r:qs="rId6" r:cs="rId7"/>
              </a:graphicData>
            </a:graphic>
          </p:graphicFrame>
          <p:pic>
            <p:nvPicPr>
              <p:cNvPr id="35911" name="Picture 6" descr="Бандлик ва меҳнат муносабатлари вазирлиги тизимига янги тузилмалар киритилди">
                <a:extLst>
                  <a:ext uri="{FF2B5EF4-FFF2-40B4-BE49-F238E27FC236}">
                    <a16:creationId xmlns:a16="http://schemas.microsoft.com/office/drawing/2014/main" id="{DD0BC710-EE52-44C6-88BD-0AB003CCF5B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0708" r="30666" b="33600"/>
              <a:stretch>
                <a:fillRect/>
              </a:stretch>
            </p:blipFill>
            <p:spPr bwMode="auto">
              <a:xfrm>
                <a:off x="6889268" y="1065568"/>
                <a:ext cx="485711" cy="5218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912" name="Picture 8" descr="Герб Узбекистана — Википедия">
                <a:extLst>
                  <a:ext uri="{FF2B5EF4-FFF2-40B4-BE49-F238E27FC236}">
                    <a16:creationId xmlns:a16="http://schemas.microsoft.com/office/drawing/2014/main" id="{A6BDE67D-2A95-4B8C-9949-A12671FB814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41286" y="1777926"/>
                <a:ext cx="459858" cy="48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913" name="Рисунок 38">
                <a:extLst>
                  <a:ext uri="{FF2B5EF4-FFF2-40B4-BE49-F238E27FC236}">
                    <a16:creationId xmlns:a16="http://schemas.microsoft.com/office/drawing/2014/main" id="{BFBCC49B-7126-4D60-9053-68C1692616F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55537" y="2524190"/>
                <a:ext cx="436655" cy="43665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914" name="Рисунок 39">
                <a:extLst>
                  <a:ext uri="{FF2B5EF4-FFF2-40B4-BE49-F238E27FC236}">
                    <a16:creationId xmlns:a16="http://schemas.microsoft.com/office/drawing/2014/main" id="{EC9777D5-7DB2-48F9-9E28-375FE43811A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92697" y="3107801"/>
                <a:ext cx="688283" cy="68828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7E49F546-04CB-48F6-9D79-F8B0A1C1FC25}"/>
              </a:ext>
            </a:extLst>
          </p:cNvPr>
          <p:cNvSpPr/>
          <p:nvPr/>
        </p:nvSpPr>
        <p:spPr>
          <a:xfrm>
            <a:off x="7504113" y="1000125"/>
            <a:ext cx="4054475" cy="4730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2128" b="1" i="0" u="none" strike="noStrike" kern="1200" cap="all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uz-Cyrl-UZ" sz="2128" b="1" cap="all" dirty="0">
                <a:solidFill>
                  <a:srgbClr val="20353F"/>
                </a:solidFill>
              </a:rPr>
              <a:t>Ожидаемые результаты</a:t>
            </a:r>
            <a:endParaRPr lang="ru-RU" sz="2128" b="1" cap="all" dirty="0">
              <a:solidFill>
                <a:srgbClr val="20353F"/>
              </a:solidFill>
            </a:endParaRPr>
          </a:p>
        </p:txBody>
      </p:sp>
      <p:graphicFrame>
        <p:nvGraphicFramePr>
          <p:cNvPr id="12" name="Схема 11">
            <a:extLst>
              <a:ext uri="{FF2B5EF4-FFF2-40B4-BE49-F238E27FC236}">
                <a16:creationId xmlns:a16="http://schemas.microsoft.com/office/drawing/2014/main" id="{7A830D4E-7F7C-4897-B21F-E8077CC3D067}"/>
              </a:ext>
            </a:extLst>
          </p:cNvPr>
          <p:cNvGraphicFramePr/>
          <p:nvPr/>
        </p:nvGraphicFramePr>
        <p:xfrm>
          <a:off x="5800728" y="1551780"/>
          <a:ext cx="6944231" cy="32233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1C5D909B-6B5D-4B69-AFD7-146098BC3E66}"/>
              </a:ext>
            </a:extLst>
          </p:cNvPr>
          <p:cNvGrpSpPr>
            <a:grpSpLocks/>
          </p:cNvGrpSpPr>
          <p:nvPr/>
        </p:nvGrpSpPr>
        <p:grpSpPr bwMode="auto">
          <a:xfrm>
            <a:off x="6719888" y="1457325"/>
            <a:ext cx="665162" cy="665163"/>
            <a:chOff x="6715125" y="1555087"/>
            <a:chExt cx="664762" cy="664762"/>
          </a:xfrm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id="{AF51E25F-8B2D-4F94-B0E6-424184277697}"/>
                </a:ext>
              </a:extLst>
            </p:cNvPr>
            <p:cNvSpPr/>
            <p:nvPr/>
          </p:nvSpPr>
          <p:spPr>
            <a:xfrm>
              <a:off x="6715125" y="1555087"/>
              <a:ext cx="664762" cy="664762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4" name="Овал 43">
              <a:extLst>
                <a:ext uri="{FF2B5EF4-FFF2-40B4-BE49-F238E27FC236}">
                  <a16:creationId xmlns:a16="http://schemas.microsoft.com/office/drawing/2014/main" id="{442E1BA5-9696-40CD-842A-4FD27C2F975B}"/>
                </a:ext>
              </a:extLst>
            </p:cNvPr>
            <p:cNvSpPr/>
            <p:nvPr/>
          </p:nvSpPr>
          <p:spPr>
            <a:xfrm>
              <a:off x="6770654" y="1610617"/>
              <a:ext cx="553705" cy="5537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A35269FD-B1CF-4DDA-AE8D-12210FC132B1}"/>
              </a:ext>
            </a:extLst>
          </p:cNvPr>
          <p:cNvGrpSpPr>
            <a:grpSpLocks/>
          </p:cNvGrpSpPr>
          <p:nvPr/>
        </p:nvGrpSpPr>
        <p:grpSpPr bwMode="auto">
          <a:xfrm>
            <a:off x="6719888" y="2147888"/>
            <a:ext cx="665162" cy="665162"/>
            <a:chOff x="6715125" y="1555087"/>
            <a:chExt cx="664762" cy="664762"/>
          </a:xfrm>
        </p:grpSpPr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4988DF7D-8288-40CD-9EB1-6D58F21DBEB3}"/>
                </a:ext>
              </a:extLst>
            </p:cNvPr>
            <p:cNvSpPr/>
            <p:nvPr/>
          </p:nvSpPr>
          <p:spPr>
            <a:xfrm>
              <a:off x="6715125" y="1555087"/>
              <a:ext cx="664762" cy="664762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47" name="Овал 46">
              <a:extLst>
                <a:ext uri="{FF2B5EF4-FFF2-40B4-BE49-F238E27FC236}">
                  <a16:creationId xmlns:a16="http://schemas.microsoft.com/office/drawing/2014/main" id="{663A5A0B-F99C-4508-A8B0-E01C7267EB3F}"/>
                </a:ext>
              </a:extLst>
            </p:cNvPr>
            <p:cNvSpPr/>
            <p:nvPr/>
          </p:nvSpPr>
          <p:spPr>
            <a:xfrm>
              <a:off x="6770654" y="1610616"/>
              <a:ext cx="553705" cy="55370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E49B2BC6-FE33-4328-90F3-49ED94E25663}"/>
              </a:ext>
            </a:extLst>
          </p:cNvPr>
          <p:cNvGrpSpPr>
            <a:grpSpLocks/>
          </p:cNvGrpSpPr>
          <p:nvPr/>
        </p:nvGrpSpPr>
        <p:grpSpPr bwMode="auto">
          <a:xfrm>
            <a:off x="6719888" y="2835275"/>
            <a:ext cx="665162" cy="665163"/>
            <a:chOff x="6715125" y="1555087"/>
            <a:chExt cx="664762" cy="664762"/>
          </a:xfrm>
        </p:grpSpPr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id="{6643917D-F583-47D1-B823-591EE5A04734}"/>
                </a:ext>
              </a:extLst>
            </p:cNvPr>
            <p:cNvSpPr/>
            <p:nvPr/>
          </p:nvSpPr>
          <p:spPr>
            <a:xfrm>
              <a:off x="6715125" y="1555087"/>
              <a:ext cx="664762" cy="664762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D4298B9B-CB6A-400A-ACB5-35B3B2D2087B}"/>
                </a:ext>
              </a:extLst>
            </p:cNvPr>
            <p:cNvSpPr/>
            <p:nvPr/>
          </p:nvSpPr>
          <p:spPr>
            <a:xfrm>
              <a:off x="6770654" y="1610617"/>
              <a:ext cx="553705" cy="5537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EFE73440-0AB5-4EC8-8881-2C0E7A0A9F53}"/>
              </a:ext>
            </a:extLst>
          </p:cNvPr>
          <p:cNvGrpSpPr>
            <a:grpSpLocks/>
          </p:cNvGrpSpPr>
          <p:nvPr/>
        </p:nvGrpSpPr>
        <p:grpSpPr bwMode="auto">
          <a:xfrm>
            <a:off x="6719888" y="3521075"/>
            <a:ext cx="665162" cy="665163"/>
            <a:chOff x="6715125" y="1555087"/>
            <a:chExt cx="664762" cy="664762"/>
          </a:xfrm>
        </p:grpSpPr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4841D641-0605-42D8-9853-0A46A53C71AA}"/>
                </a:ext>
              </a:extLst>
            </p:cNvPr>
            <p:cNvSpPr/>
            <p:nvPr/>
          </p:nvSpPr>
          <p:spPr>
            <a:xfrm>
              <a:off x="6715125" y="1555087"/>
              <a:ext cx="664762" cy="664762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53" name="Овал 52">
              <a:extLst>
                <a:ext uri="{FF2B5EF4-FFF2-40B4-BE49-F238E27FC236}">
                  <a16:creationId xmlns:a16="http://schemas.microsoft.com/office/drawing/2014/main" id="{8EAE357D-0537-4841-BC05-B2F4D150E2AD}"/>
                </a:ext>
              </a:extLst>
            </p:cNvPr>
            <p:cNvSpPr/>
            <p:nvPr/>
          </p:nvSpPr>
          <p:spPr>
            <a:xfrm>
              <a:off x="6770654" y="1610617"/>
              <a:ext cx="553705" cy="55370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0F80027B-7DCB-4773-96C0-790B23CED35B}"/>
              </a:ext>
            </a:extLst>
          </p:cNvPr>
          <p:cNvGrpSpPr>
            <a:grpSpLocks/>
          </p:cNvGrpSpPr>
          <p:nvPr/>
        </p:nvGrpSpPr>
        <p:grpSpPr bwMode="auto">
          <a:xfrm>
            <a:off x="6719888" y="4221163"/>
            <a:ext cx="665162" cy="665162"/>
            <a:chOff x="6715125" y="1555087"/>
            <a:chExt cx="664762" cy="664762"/>
          </a:xfrm>
        </p:grpSpPr>
        <p:sp>
          <p:nvSpPr>
            <p:cNvPr id="55" name="Овал 54">
              <a:extLst>
                <a:ext uri="{FF2B5EF4-FFF2-40B4-BE49-F238E27FC236}">
                  <a16:creationId xmlns:a16="http://schemas.microsoft.com/office/drawing/2014/main" id="{0312C241-584F-4192-B219-2FF07D37B26D}"/>
                </a:ext>
              </a:extLst>
            </p:cNvPr>
            <p:cNvSpPr/>
            <p:nvPr/>
          </p:nvSpPr>
          <p:spPr>
            <a:xfrm>
              <a:off x="6715125" y="1555087"/>
              <a:ext cx="664762" cy="664762"/>
            </a:xfrm>
            <a:prstGeom prst="ellipse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56" name="Овал 55">
              <a:extLst>
                <a:ext uri="{FF2B5EF4-FFF2-40B4-BE49-F238E27FC236}">
                  <a16:creationId xmlns:a16="http://schemas.microsoft.com/office/drawing/2014/main" id="{97955864-1BEB-462F-B8AE-7BA808E7BE41}"/>
                </a:ext>
              </a:extLst>
            </p:cNvPr>
            <p:cNvSpPr/>
            <p:nvPr/>
          </p:nvSpPr>
          <p:spPr>
            <a:xfrm>
              <a:off x="6770654" y="1610616"/>
              <a:ext cx="553705" cy="55370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</p:grpSp>
      <p:pic>
        <p:nvPicPr>
          <p:cNvPr id="57" name="Picture 12" descr="Job market logo icon flat design white background Vector Image">
            <a:extLst>
              <a:ext uri="{FF2B5EF4-FFF2-40B4-BE49-F238E27FC236}">
                <a16:creationId xmlns:a16="http://schemas.microsoft.com/office/drawing/2014/main" id="{497A8363-C14D-40D2-99D6-4D1E397B2D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5767" t="11883" r="14033" b="27932"/>
          <a:stretch/>
        </p:blipFill>
        <p:spPr bwMode="auto">
          <a:xfrm>
            <a:off x="6833801" y="1632298"/>
            <a:ext cx="438084" cy="405633"/>
          </a:xfrm>
          <a:prstGeom prst="rect">
            <a:avLst/>
          </a:prstGeom>
          <a:noFill/>
        </p:spPr>
      </p:pic>
      <p:pic>
        <p:nvPicPr>
          <p:cNvPr id="58" name="Picture 10" descr="Labor market icon from business bicolor set Vector Image">
            <a:extLst>
              <a:ext uri="{FF2B5EF4-FFF2-40B4-BE49-F238E27FC236}">
                <a16:creationId xmlns:a16="http://schemas.microsoft.com/office/drawing/2014/main" id="{3EE7D7B1-560D-4B86-94F5-B1D1BB748EF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b="9447"/>
          <a:stretch/>
        </p:blipFill>
        <p:spPr bwMode="auto">
          <a:xfrm>
            <a:off x="6776183" y="2271695"/>
            <a:ext cx="540588" cy="424902"/>
          </a:xfrm>
          <a:prstGeom prst="rect">
            <a:avLst/>
          </a:prstGeom>
          <a:noFill/>
        </p:spPr>
      </p:pic>
      <p:pic>
        <p:nvPicPr>
          <p:cNvPr id="59" name="Picture 6" descr="Recruiter vacant work place icon simple style Vector Image">
            <a:extLst>
              <a:ext uri="{FF2B5EF4-FFF2-40B4-BE49-F238E27FC236}">
                <a16:creationId xmlns:a16="http://schemas.microsoft.com/office/drawing/2014/main" id="{D7D0B19F-3697-4D79-ACE4-D4F2562CDC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t="3409" b="9677"/>
          <a:stretch/>
        </p:blipFill>
        <p:spPr bwMode="auto">
          <a:xfrm>
            <a:off x="6818744" y="2931754"/>
            <a:ext cx="510759" cy="479433"/>
          </a:xfrm>
          <a:prstGeom prst="rect">
            <a:avLst/>
          </a:prstGeom>
          <a:noFill/>
        </p:spPr>
      </p:pic>
      <p:pic>
        <p:nvPicPr>
          <p:cNvPr id="60" name="Picture 4" descr="Vacancy Icons - Free SVG &amp; PNG Vacancy Images - Noun Project">
            <a:extLst>
              <a:ext uri="{FF2B5EF4-FFF2-40B4-BE49-F238E27FC236}">
                <a16:creationId xmlns:a16="http://schemas.microsoft.com/office/drawing/2014/main" id="{E7EC3CC5-1CB3-4427-8503-9B1FB0576D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hq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12094" y="3608713"/>
            <a:ext cx="459791" cy="459791"/>
          </a:xfrm>
          <a:prstGeom prst="rect">
            <a:avLst/>
          </a:prstGeom>
          <a:noFill/>
        </p:spPr>
      </p:pic>
      <p:pic>
        <p:nvPicPr>
          <p:cNvPr id="61" name="Picture 8" descr="Мониторинг – Бесплатные иконки: бизнес">
            <a:extLst>
              <a:ext uri="{FF2B5EF4-FFF2-40B4-BE49-F238E27FC236}">
                <a16:creationId xmlns:a16="http://schemas.microsoft.com/office/drawing/2014/main" id="{C5AE50BD-6D4D-4D1C-8985-A9C1D6899F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hq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847636" y="4350068"/>
            <a:ext cx="418358" cy="418358"/>
          </a:xfrm>
          <a:prstGeom prst="rect">
            <a:avLst/>
          </a:prstGeom>
          <a:noFill/>
        </p:spPr>
      </p:pic>
      <p:sp>
        <p:nvSpPr>
          <p:cNvPr id="64" name="Прямоугольник 63">
            <a:extLst>
              <a:ext uri="{FF2B5EF4-FFF2-40B4-BE49-F238E27FC236}">
                <a16:creationId xmlns:a16="http://schemas.microsoft.com/office/drawing/2014/main" id="{921BD4E1-EFA2-4C83-9C34-0E3F763C299A}"/>
              </a:ext>
            </a:extLst>
          </p:cNvPr>
          <p:cNvSpPr/>
          <p:nvPr/>
        </p:nvSpPr>
        <p:spPr>
          <a:xfrm>
            <a:off x="2771775" y="5003800"/>
            <a:ext cx="6629400" cy="4143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kern="0" dirty="0">
                <a:solidFill>
                  <a:srgbClr val="20353F"/>
                </a:solidFill>
                <a:cs typeface="Arial" panose="020B0604020202020204" pitchFamily="34" charset="0"/>
                <a:sym typeface="Helvetica Light"/>
              </a:rPr>
              <a:t>ПРОГНОЗ ЗАНЯТОСТИ ВЫПУСКНИКОВ В </a:t>
            </a:r>
            <a:r>
              <a:rPr lang="ru-RU" sz="1600" b="1" kern="0" dirty="0">
                <a:solidFill>
                  <a:srgbClr val="20353F"/>
                </a:solidFill>
                <a:cs typeface="Arial" panose="020B0604020202020204" pitchFamily="34" charset="0"/>
                <a:sym typeface="Helvetica Light"/>
              </a:rPr>
              <a:t>2023 </a:t>
            </a:r>
            <a:r>
              <a:rPr lang="ru-RU" sz="1400" b="1" kern="0" dirty="0">
                <a:solidFill>
                  <a:srgbClr val="20353F"/>
                </a:solidFill>
                <a:cs typeface="Arial" panose="020B0604020202020204" pitchFamily="34" charset="0"/>
                <a:sym typeface="Helvetica Light"/>
              </a:rPr>
              <a:t>Г.</a:t>
            </a:r>
            <a:endParaRPr lang="uz-Cyrl-UZ" sz="1400" b="1" kern="0" dirty="0">
              <a:solidFill>
                <a:srgbClr val="20353F"/>
              </a:solidFill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FAA400C6-1113-4D5A-A6A0-CB0399ADD753}"/>
              </a:ext>
            </a:extLst>
          </p:cNvPr>
          <p:cNvSpPr/>
          <p:nvPr/>
        </p:nvSpPr>
        <p:spPr>
          <a:xfrm>
            <a:off x="738188" y="6237288"/>
            <a:ext cx="1755775" cy="422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z-Cyrl-UZ" sz="1200" b="1" dirty="0">
                <a:solidFill>
                  <a:srgbClr val="002060"/>
                </a:solidFill>
              </a:rPr>
              <a:t>Всего выпускников</a:t>
            </a:r>
            <a:endParaRPr lang="ru-RU" sz="1200" b="1" dirty="0">
              <a:solidFill>
                <a:srgbClr val="002060"/>
              </a:solidFill>
            </a:endParaRP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F9A5BC46-1617-4C34-AC87-19D1CACBC3B6}"/>
              </a:ext>
            </a:extLst>
          </p:cNvPr>
          <p:cNvGrpSpPr>
            <a:grpSpLocks/>
          </p:cNvGrpSpPr>
          <p:nvPr/>
        </p:nvGrpSpPr>
        <p:grpSpPr bwMode="auto">
          <a:xfrm>
            <a:off x="703263" y="5105400"/>
            <a:ext cx="1655762" cy="1109663"/>
            <a:chOff x="378500" y="5681889"/>
            <a:chExt cx="1269325" cy="647629"/>
          </a:xfrm>
        </p:grpSpPr>
        <p:sp>
          <p:nvSpPr>
            <p:cNvPr id="15" name="Скругленный прямоугольник 14">
              <a:extLst>
                <a:ext uri="{FF2B5EF4-FFF2-40B4-BE49-F238E27FC236}">
                  <a16:creationId xmlns:a16="http://schemas.microsoft.com/office/drawing/2014/main" id="{FD7E5FCD-EDEA-447C-9F6F-B94F65DA55DC}"/>
                </a:ext>
              </a:extLst>
            </p:cNvPr>
            <p:cNvSpPr/>
            <p:nvPr/>
          </p:nvSpPr>
          <p:spPr>
            <a:xfrm>
              <a:off x="378500" y="5681889"/>
              <a:ext cx="1269325" cy="647629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002060"/>
                </a:solidFill>
              </a:endParaRPr>
            </a:p>
          </p:txBody>
        </p:sp>
        <p:sp>
          <p:nvSpPr>
            <p:cNvPr id="17" name="Скругленный прямоугольник 16">
              <a:extLst>
                <a:ext uri="{FF2B5EF4-FFF2-40B4-BE49-F238E27FC236}">
                  <a16:creationId xmlns:a16="http://schemas.microsoft.com/office/drawing/2014/main" id="{EC2E76F9-9FC5-444E-8C49-B0956B2B8F8E}"/>
                </a:ext>
              </a:extLst>
            </p:cNvPr>
            <p:cNvSpPr/>
            <p:nvPr/>
          </p:nvSpPr>
          <p:spPr>
            <a:xfrm>
              <a:off x="536709" y="5794923"/>
              <a:ext cx="952906" cy="421561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D2089EA7-E07F-4D43-AC8D-E9841EAD027E}"/>
                </a:ext>
              </a:extLst>
            </p:cNvPr>
            <p:cNvSpPr/>
            <p:nvPr/>
          </p:nvSpPr>
          <p:spPr>
            <a:xfrm>
              <a:off x="475860" y="5798629"/>
              <a:ext cx="1013756" cy="42248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b="1" dirty="0">
                  <a:solidFill>
                    <a:srgbClr val="002060"/>
                  </a:solidFill>
                </a:rPr>
                <a:t>193 592</a:t>
              </a:r>
              <a:endParaRPr lang="ru-RU" b="1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A2C0A6F4-8351-4701-95C8-34722C355826}"/>
              </a:ext>
            </a:extLst>
          </p:cNvPr>
          <p:cNvGrpSpPr>
            <a:grpSpLocks/>
          </p:cNvGrpSpPr>
          <p:nvPr/>
        </p:nvGrpSpPr>
        <p:grpSpPr bwMode="auto">
          <a:xfrm>
            <a:off x="3030538" y="5545138"/>
            <a:ext cx="1270000" cy="647700"/>
            <a:chOff x="378500" y="5681889"/>
            <a:chExt cx="1269325" cy="647629"/>
          </a:xfrm>
        </p:grpSpPr>
        <p:sp>
          <p:nvSpPr>
            <p:cNvPr id="67" name="Скругленный прямоугольник 66">
              <a:extLst>
                <a:ext uri="{FF2B5EF4-FFF2-40B4-BE49-F238E27FC236}">
                  <a16:creationId xmlns:a16="http://schemas.microsoft.com/office/drawing/2014/main" id="{B1C627BA-BB98-4810-B86C-DC07433F6572}"/>
                </a:ext>
              </a:extLst>
            </p:cNvPr>
            <p:cNvSpPr/>
            <p:nvPr/>
          </p:nvSpPr>
          <p:spPr>
            <a:xfrm>
              <a:off x="378500" y="5681889"/>
              <a:ext cx="1269325" cy="647629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002060"/>
                </a:solidFill>
              </a:endParaRPr>
            </a:p>
          </p:txBody>
        </p:sp>
        <p:sp>
          <p:nvSpPr>
            <p:cNvPr id="68" name="Скругленный прямоугольник 67">
              <a:extLst>
                <a:ext uri="{FF2B5EF4-FFF2-40B4-BE49-F238E27FC236}">
                  <a16:creationId xmlns:a16="http://schemas.microsoft.com/office/drawing/2014/main" id="{92B76DCD-FF0C-481E-8E45-83C7C44AA5C5}"/>
                </a:ext>
              </a:extLst>
            </p:cNvPr>
            <p:cNvSpPr/>
            <p:nvPr/>
          </p:nvSpPr>
          <p:spPr>
            <a:xfrm>
              <a:off x="537166" y="5794589"/>
              <a:ext cx="951994" cy="42222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id="{15ACD8C8-6FFD-4E7D-A82A-B190FC782AA0}"/>
                </a:ext>
              </a:extLst>
            </p:cNvPr>
            <p:cNvSpPr/>
            <p:nvPr/>
          </p:nvSpPr>
          <p:spPr>
            <a:xfrm>
              <a:off x="522885" y="5797763"/>
              <a:ext cx="1013874" cy="4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b="1" dirty="0">
                  <a:solidFill>
                    <a:srgbClr val="002060"/>
                  </a:solidFill>
                </a:rPr>
                <a:t>54,5 %</a:t>
              </a:r>
              <a:endParaRPr lang="ru-RU" b="1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id="{6C405302-F0A8-40BB-8205-6C942D85F0FC}"/>
              </a:ext>
            </a:extLst>
          </p:cNvPr>
          <p:cNvGrpSpPr>
            <a:grpSpLocks/>
          </p:cNvGrpSpPr>
          <p:nvPr/>
        </p:nvGrpSpPr>
        <p:grpSpPr bwMode="auto">
          <a:xfrm>
            <a:off x="4800600" y="5545138"/>
            <a:ext cx="1270000" cy="647700"/>
            <a:chOff x="378500" y="5681889"/>
            <a:chExt cx="1269325" cy="647629"/>
          </a:xfrm>
        </p:grpSpPr>
        <p:sp>
          <p:nvSpPr>
            <p:cNvPr id="71" name="Скругленный прямоугольник 70">
              <a:extLst>
                <a:ext uri="{FF2B5EF4-FFF2-40B4-BE49-F238E27FC236}">
                  <a16:creationId xmlns:a16="http://schemas.microsoft.com/office/drawing/2014/main" id="{11958763-25F0-4C78-8883-7C935A6DFED6}"/>
                </a:ext>
              </a:extLst>
            </p:cNvPr>
            <p:cNvSpPr/>
            <p:nvPr/>
          </p:nvSpPr>
          <p:spPr>
            <a:xfrm>
              <a:off x="378500" y="5681889"/>
              <a:ext cx="1269325" cy="647629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002060"/>
                </a:solidFill>
              </a:endParaRPr>
            </a:p>
          </p:txBody>
        </p:sp>
        <p:sp>
          <p:nvSpPr>
            <p:cNvPr id="72" name="Скругленный прямоугольник 71">
              <a:extLst>
                <a:ext uri="{FF2B5EF4-FFF2-40B4-BE49-F238E27FC236}">
                  <a16:creationId xmlns:a16="http://schemas.microsoft.com/office/drawing/2014/main" id="{80B1A42B-9247-4C3F-9E4E-0695BA59E4D6}"/>
                </a:ext>
              </a:extLst>
            </p:cNvPr>
            <p:cNvSpPr/>
            <p:nvPr/>
          </p:nvSpPr>
          <p:spPr>
            <a:xfrm>
              <a:off x="537166" y="5794589"/>
              <a:ext cx="951994" cy="42222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id="{FD167505-DE5A-4602-968B-F5E997ED1629}"/>
                </a:ext>
              </a:extLst>
            </p:cNvPr>
            <p:cNvSpPr/>
            <p:nvPr/>
          </p:nvSpPr>
          <p:spPr>
            <a:xfrm>
              <a:off x="476873" y="5797763"/>
              <a:ext cx="1012287" cy="4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b="1" dirty="0">
                  <a:solidFill>
                    <a:srgbClr val="002060"/>
                  </a:solidFill>
                </a:rPr>
                <a:t>20,9 %</a:t>
              </a:r>
              <a:endParaRPr lang="ru-RU" b="1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A3A748DC-5BA6-4562-9329-339BBEC1A668}"/>
              </a:ext>
            </a:extLst>
          </p:cNvPr>
          <p:cNvGrpSpPr>
            <a:grpSpLocks/>
          </p:cNvGrpSpPr>
          <p:nvPr/>
        </p:nvGrpSpPr>
        <p:grpSpPr bwMode="auto">
          <a:xfrm>
            <a:off x="6570663" y="5545138"/>
            <a:ext cx="1268412" cy="647700"/>
            <a:chOff x="378500" y="5681889"/>
            <a:chExt cx="1269325" cy="647629"/>
          </a:xfrm>
        </p:grpSpPr>
        <p:sp>
          <p:nvSpPr>
            <p:cNvPr id="75" name="Скругленный прямоугольник 74">
              <a:extLst>
                <a:ext uri="{FF2B5EF4-FFF2-40B4-BE49-F238E27FC236}">
                  <a16:creationId xmlns:a16="http://schemas.microsoft.com/office/drawing/2014/main" id="{6C378317-895B-48A9-9AD8-F47F77483D9C}"/>
                </a:ext>
              </a:extLst>
            </p:cNvPr>
            <p:cNvSpPr/>
            <p:nvPr/>
          </p:nvSpPr>
          <p:spPr>
            <a:xfrm>
              <a:off x="378500" y="5681889"/>
              <a:ext cx="1269325" cy="647629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002060"/>
                </a:solidFill>
              </a:endParaRPr>
            </a:p>
          </p:txBody>
        </p:sp>
        <p:sp>
          <p:nvSpPr>
            <p:cNvPr id="76" name="Скругленный прямоугольник 75">
              <a:extLst>
                <a:ext uri="{FF2B5EF4-FFF2-40B4-BE49-F238E27FC236}">
                  <a16:creationId xmlns:a16="http://schemas.microsoft.com/office/drawing/2014/main" id="{FF363905-E048-471E-8568-862A146AD50D}"/>
                </a:ext>
              </a:extLst>
            </p:cNvPr>
            <p:cNvSpPr/>
            <p:nvPr/>
          </p:nvSpPr>
          <p:spPr>
            <a:xfrm>
              <a:off x="537364" y="5794589"/>
              <a:ext cx="951596" cy="42222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77" name="Прямоугольник 76">
              <a:extLst>
                <a:ext uri="{FF2B5EF4-FFF2-40B4-BE49-F238E27FC236}">
                  <a16:creationId xmlns:a16="http://schemas.microsoft.com/office/drawing/2014/main" id="{75F75466-35FB-42F7-98A1-A8A53802C07F}"/>
                </a:ext>
              </a:extLst>
            </p:cNvPr>
            <p:cNvSpPr/>
            <p:nvPr/>
          </p:nvSpPr>
          <p:spPr>
            <a:xfrm>
              <a:off x="523066" y="5797763"/>
              <a:ext cx="1013554" cy="4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b="1" dirty="0">
                  <a:solidFill>
                    <a:srgbClr val="002060"/>
                  </a:solidFill>
                </a:rPr>
                <a:t>9,9 %</a:t>
              </a:r>
              <a:endParaRPr lang="ru-RU" b="1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02327F53-E305-4802-BDF7-82CA40FC4972}"/>
              </a:ext>
            </a:extLst>
          </p:cNvPr>
          <p:cNvGrpSpPr>
            <a:grpSpLocks/>
          </p:cNvGrpSpPr>
          <p:nvPr/>
        </p:nvGrpSpPr>
        <p:grpSpPr bwMode="auto">
          <a:xfrm>
            <a:off x="10109200" y="5545138"/>
            <a:ext cx="1270000" cy="647700"/>
            <a:chOff x="378500" y="5681889"/>
            <a:chExt cx="1269325" cy="647629"/>
          </a:xfrm>
        </p:grpSpPr>
        <p:sp>
          <p:nvSpPr>
            <p:cNvPr id="79" name="Скругленный прямоугольник 78">
              <a:extLst>
                <a:ext uri="{FF2B5EF4-FFF2-40B4-BE49-F238E27FC236}">
                  <a16:creationId xmlns:a16="http://schemas.microsoft.com/office/drawing/2014/main" id="{AA1BE83A-529B-41E7-B83F-FA75BC34E74F}"/>
                </a:ext>
              </a:extLst>
            </p:cNvPr>
            <p:cNvSpPr/>
            <p:nvPr/>
          </p:nvSpPr>
          <p:spPr>
            <a:xfrm>
              <a:off x="378500" y="5681889"/>
              <a:ext cx="1269325" cy="647629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002060"/>
                </a:solidFill>
              </a:endParaRPr>
            </a:p>
          </p:txBody>
        </p:sp>
        <p:sp>
          <p:nvSpPr>
            <p:cNvPr id="80" name="Скругленный прямоугольник 79">
              <a:extLst>
                <a:ext uri="{FF2B5EF4-FFF2-40B4-BE49-F238E27FC236}">
                  <a16:creationId xmlns:a16="http://schemas.microsoft.com/office/drawing/2014/main" id="{E752E717-50F4-4C20-8DEA-39D66338F7CB}"/>
                </a:ext>
              </a:extLst>
            </p:cNvPr>
            <p:cNvSpPr/>
            <p:nvPr/>
          </p:nvSpPr>
          <p:spPr>
            <a:xfrm>
              <a:off x="537166" y="5794589"/>
              <a:ext cx="951994" cy="42222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1" name="Прямоугольник 80">
              <a:extLst>
                <a:ext uri="{FF2B5EF4-FFF2-40B4-BE49-F238E27FC236}">
                  <a16:creationId xmlns:a16="http://schemas.microsoft.com/office/drawing/2014/main" id="{D0662998-7836-4E61-8937-9541D36BEAE7}"/>
                </a:ext>
              </a:extLst>
            </p:cNvPr>
            <p:cNvSpPr/>
            <p:nvPr/>
          </p:nvSpPr>
          <p:spPr>
            <a:xfrm>
              <a:off x="570486" y="5797763"/>
              <a:ext cx="1013873" cy="4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b="1" dirty="0">
                  <a:solidFill>
                    <a:srgbClr val="002060"/>
                  </a:solidFill>
                </a:rPr>
                <a:t>5,1 %</a:t>
              </a:r>
              <a:endParaRPr lang="ru-RU" b="1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A850C179-F200-469A-A578-351ED547A1F4}"/>
              </a:ext>
            </a:extLst>
          </p:cNvPr>
          <p:cNvGrpSpPr>
            <a:grpSpLocks/>
          </p:cNvGrpSpPr>
          <p:nvPr/>
        </p:nvGrpSpPr>
        <p:grpSpPr bwMode="auto">
          <a:xfrm>
            <a:off x="8339138" y="5545138"/>
            <a:ext cx="1270000" cy="647700"/>
            <a:chOff x="378500" y="5681889"/>
            <a:chExt cx="1269325" cy="647629"/>
          </a:xfrm>
        </p:grpSpPr>
        <p:sp>
          <p:nvSpPr>
            <p:cNvPr id="83" name="Скругленный прямоугольник 82">
              <a:extLst>
                <a:ext uri="{FF2B5EF4-FFF2-40B4-BE49-F238E27FC236}">
                  <a16:creationId xmlns:a16="http://schemas.microsoft.com/office/drawing/2014/main" id="{2D89EAF2-3B94-4289-886F-305D85EA4939}"/>
                </a:ext>
              </a:extLst>
            </p:cNvPr>
            <p:cNvSpPr/>
            <p:nvPr/>
          </p:nvSpPr>
          <p:spPr>
            <a:xfrm>
              <a:off x="378500" y="5681889"/>
              <a:ext cx="1269325" cy="647629"/>
            </a:xfrm>
            <a:prstGeom prst="round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57785" dist="33020" dir="3180000" algn="ctr">
                <a:srgbClr val="000000">
                  <a:alpha val="30000"/>
                </a:srgbClr>
              </a:outerShdw>
            </a:effectLst>
            <a:scene3d>
              <a:camera prst="orthographicFront">
                <a:rot lat="0" lon="0" rev="0"/>
              </a:camera>
              <a:lightRig rig="brightRoom" dir="t">
                <a:rot lat="0" lon="0" rev="600000"/>
              </a:lightRig>
            </a:scene3d>
            <a:sp3d prstMaterial="metal">
              <a:bevelT w="38100" h="57150" prst="angl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solidFill>
                  <a:srgbClr val="002060"/>
                </a:solidFill>
              </a:endParaRPr>
            </a:p>
          </p:txBody>
        </p:sp>
        <p:sp>
          <p:nvSpPr>
            <p:cNvPr id="84" name="Скругленный прямоугольник 83">
              <a:extLst>
                <a:ext uri="{FF2B5EF4-FFF2-40B4-BE49-F238E27FC236}">
                  <a16:creationId xmlns:a16="http://schemas.microsoft.com/office/drawing/2014/main" id="{22F8DB39-1F98-433F-B3AC-491F651A65D0}"/>
                </a:ext>
              </a:extLst>
            </p:cNvPr>
            <p:cNvSpPr/>
            <p:nvPr/>
          </p:nvSpPr>
          <p:spPr>
            <a:xfrm>
              <a:off x="537166" y="5794589"/>
              <a:ext cx="951994" cy="422229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/>
            </a:p>
          </p:txBody>
        </p:sp>
        <p:sp>
          <p:nvSpPr>
            <p:cNvPr id="85" name="Прямоугольник 84">
              <a:extLst>
                <a:ext uri="{FF2B5EF4-FFF2-40B4-BE49-F238E27FC236}">
                  <a16:creationId xmlns:a16="http://schemas.microsoft.com/office/drawing/2014/main" id="{6FD03F15-F758-440D-ACCF-270E8E43421A}"/>
                </a:ext>
              </a:extLst>
            </p:cNvPr>
            <p:cNvSpPr/>
            <p:nvPr/>
          </p:nvSpPr>
          <p:spPr>
            <a:xfrm>
              <a:off x="570485" y="5797763"/>
              <a:ext cx="1013874" cy="42222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uz-Cyrl-UZ" b="1" dirty="0">
                  <a:solidFill>
                    <a:srgbClr val="002060"/>
                  </a:solidFill>
                </a:rPr>
                <a:t>9,6 %</a:t>
              </a:r>
              <a:endParaRPr lang="ru-RU" b="1" dirty="0">
                <a:solidFill>
                  <a:srgbClr val="002060"/>
                </a:solidFill>
              </a:endParaRPr>
            </a:p>
          </p:txBody>
        </p:sp>
      </p:grpSp>
      <p:sp>
        <p:nvSpPr>
          <p:cNvPr id="86" name="Прямоугольник 85">
            <a:extLst>
              <a:ext uri="{FF2B5EF4-FFF2-40B4-BE49-F238E27FC236}">
                <a16:creationId xmlns:a16="http://schemas.microsoft.com/office/drawing/2014/main" id="{40BC2B96-9E8D-4B1A-BDF0-4B2FD1A91C7B}"/>
              </a:ext>
            </a:extLst>
          </p:cNvPr>
          <p:cNvSpPr/>
          <p:nvPr/>
        </p:nvSpPr>
        <p:spPr>
          <a:xfrm>
            <a:off x="2765425" y="6246813"/>
            <a:ext cx="1825625" cy="422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err="1">
                <a:solidFill>
                  <a:srgbClr val="002060"/>
                </a:solidFill>
              </a:rPr>
              <a:t>Трудоустроевающие</a:t>
            </a:r>
            <a:r>
              <a:rPr lang="ru-RU" sz="1200" b="1" dirty="0">
                <a:solidFill>
                  <a:srgbClr val="002060"/>
                </a:solidFill>
              </a:rPr>
              <a:t/>
            </a:r>
            <a:br>
              <a:rPr lang="ru-RU" sz="1200" b="1" dirty="0">
                <a:solidFill>
                  <a:srgbClr val="002060"/>
                </a:solidFill>
              </a:rPr>
            </a:b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87" name="Прямоугольник 86">
            <a:extLst>
              <a:ext uri="{FF2B5EF4-FFF2-40B4-BE49-F238E27FC236}">
                <a16:creationId xmlns:a16="http://schemas.microsoft.com/office/drawing/2014/main" id="{D4ED250B-2D48-4AFA-9AA0-1A64E27DA2D9}"/>
              </a:ext>
            </a:extLst>
          </p:cNvPr>
          <p:cNvSpPr/>
          <p:nvPr/>
        </p:nvSpPr>
        <p:spPr>
          <a:xfrm>
            <a:off x="4794250" y="6246813"/>
            <a:ext cx="1511300" cy="422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z-Cyrl-UZ" sz="1200" b="1" dirty="0">
                <a:solidFill>
                  <a:srgbClr val="002060"/>
                </a:solidFill>
              </a:rPr>
              <a:t>Поступающиеся</a:t>
            </a:r>
            <a:br>
              <a:rPr lang="uz-Cyrl-UZ" sz="1200" b="1" dirty="0">
                <a:solidFill>
                  <a:srgbClr val="002060"/>
                </a:solidFill>
              </a:rPr>
            </a:br>
            <a:r>
              <a:rPr lang="uz-Cyrl-UZ" sz="1200" b="1" dirty="0">
                <a:solidFill>
                  <a:srgbClr val="002060"/>
                </a:solidFill>
              </a:rPr>
              <a:t>в ВУЗы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E46C8313-C922-4C4E-9450-9AFCEC0A54F0}"/>
              </a:ext>
            </a:extLst>
          </p:cNvPr>
          <p:cNvSpPr/>
          <p:nvPr/>
        </p:nvSpPr>
        <p:spPr>
          <a:xfrm>
            <a:off x="6323013" y="6256338"/>
            <a:ext cx="2016125" cy="422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z-Cyrl-UZ" sz="1200" b="1" dirty="0">
                <a:solidFill>
                  <a:srgbClr val="002060"/>
                </a:solidFill>
              </a:rPr>
              <a:t>Занимающиеся</a:t>
            </a:r>
            <a:br>
              <a:rPr lang="uz-Cyrl-UZ" sz="1200" b="1" dirty="0">
                <a:solidFill>
                  <a:srgbClr val="002060"/>
                </a:solidFill>
              </a:rPr>
            </a:br>
            <a:r>
              <a:rPr lang="uz-Cyrl-UZ" sz="1200" b="1" dirty="0">
                <a:solidFill>
                  <a:srgbClr val="002060"/>
                </a:solidFill>
              </a:rPr>
              <a:t>предпринимательством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id="{6B68FDB7-87DE-49C2-914D-0C201798AE6A}"/>
              </a:ext>
            </a:extLst>
          </p:cNvPr>
          <p:cNvSpPr/>
          <p:nvPr/>
        </p:nvSpPr>
        <p:spPr>
          <a:xfrm>
            <a:off x="8358188" y="6246813"/>
            <a:ext cx="1460500" cy="422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z-Cyrl-UZ" sz="1200" b="1" dirty="0">
                <a:solidFill>
                  <a:srgbClr val="002060"/>
                </a:solidFill>
              </a:rPr>
              <a:t>Самозанятые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90" name="Прямоугольник 89">
            <a:extLst>
              <a:ext uri="{FF2B5EF4-FFF2-40B4-BE49-F238E27FC236}">
                <a16:creationId xmlns:a16="http://schemas.microsoft.com/office/drawing/2014/main" id="{264AC74E-1DEF-45BE-A5F6-C60FF7D4477D}"/>
              </a:ext>
            </a:extLst>
          </p:cNvPr>
          <p:cNvSpPr/>
          <p:nvPr/>
        </p:nvSpPr>
        <p:spPr>
          <a:xfrm>
            <a:off x="10147300" y="6246813"/>
            <a:ext cx="1270000" cy="422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uz-Cyrl-UZ" sz="1200" b="1" dirty="0">
                <a:solidFill>
                  <a:srgbClr val="002060"/>
                </a:solidFill>
              </a:rPr>
              <a:t>Трудовая миграция</a:t>
            </a:r>
            <a:endParaRPr lang="ru-RU" sz="1200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3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800" decel="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3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2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800" decel="100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2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800" decel="100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3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80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800" decel="100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2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2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800" decel="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2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800" decel="100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800" decel="100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3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1800" decel="100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2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800" decel="100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5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2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800" decel="100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2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800" decel="100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7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2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0" dur="2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800" decel="100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3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2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2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800" decel="100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200" accel="100000" fill="hold">
                                          <p:stCondLst>
                                            <p:cond delay="180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 nodeType="clickPar">
                      <p:stCondLst>
                        <p:cond delay="indefinite"/>
                      </p:stCondLst>
                      <p:childTnLst>
                        <p:par>
                          <p:cTn id="10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1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9" dur="1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2" dur="1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1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1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1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1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1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1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9" dur="1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2" dur="1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5" dur="1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8" dur="1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1" dur="1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1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7" dur="1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27" grpId="0" animBg="1"/>
      <p:bldP spid="31" grpId="0"/>
      <p:bldP spid="24" grpId="0"/>
      <p:bldGraphic spid="12" grpId="0">
        <p:bldAsOne/>
      </p:bldGraphic>
      <p:bldP spid="64" grpId="0"/>
      <p:bldP spid="65" grpId="0"/>
      <p:bldP spid="86" grpId="0"/>
      <p:bldP spid="87" grpId="0"/>
      <p:bldP spid="88" grpId="0"/>
      <p:bldP spid="89" grpId="0"/>
      <p:bldP spid="9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98"/>
  <p:tag name="ARTICULATE_SLIDE_THUMBNAIL_REFRESH" val="1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ETF DARYA Template">
  <a:themeElements>
    <a:clrScheme name="Custom 1">
      <a:dk1>
        <a:srgbClr val="000000"/>
      </a:dk1>
      <a:lt1>
        <a:srgbClr val="FFFFFF"/>
      </a:lt1>
      <a:dk2>
        <a:srgbClr val="0092BB"/>
      </a:dk2>
      <a:lt2>
        <a:srgbClr val="D6DCE4"/>
      </a:lt2>
      <a:accent1>
        <a:srgbClr val="009CDE"/>
      </a:accent1>
      <a:accent2>
        <a:srgbClr val="38B6AB"/>
      </a:accent2>
      <a:accent3>
        <a:srgbClr val="CBD300"/>
      </a:accent3>
      <a:accent4>
        <a:srgbClr val="FFDC00"/>
      </a:accent4>
      <a:accent5>
        <a:srgbClr val="E9473D"/>
      </a:accent5>
      <a:accent6>
        <a:srgbClr val="DC006B"/>
      </a:accent6>
      <a:hlink>
        <a:srgbClr val="0092BB"/>
      </a:hlink>
      <a:folHlink>
        <a:srgbClr val="27257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ARYA_русча+[Compatibility Mode]" id="{AE00E4D5-165B-4584-8711-2FB2803A39DB}" vid="{C560717F-E14D-44D1-BD66-28D68DEA3D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D2F5C2D7F38543A7DECC0B91FBF8EC" ma:contentTypeVersion="16" ma:contentTypeDescription="Create a new document." ma:contentTypeScope="" ma:versionID="f8e294c510f2bb34281d9ecc0def78e5">
  <xsd:schema xmlns:xsd="http://www.w3.org/2001/XMLSchema" xmlns:xs="http://www.w3.org/2001/XMLSchema" xmlns:p="http://schemas.microsoft.com/office/2006/metadata/properties" xmlns:ns2="f3ae32bb-a161-4da2-a912-3fd4ef5c7b4c" xmlns:ns3="5bf4adf3-0360-4285-b414-8a1933b4cf43" targetNamespace="http://schemas.microsoft.com/office/2006/metadata/properties" ma:root="true" ma:fieldsID="dc4a4d71b6e7dbdd187a9c148d9cd6ca" ns2:_="" ns3:_="">
    <xsd:import namespace="f3ae32bb-a161-4da2-a912-3fd4ef5c7b4c"/>
    <xsd:import namespace="5bf4adf3-0360-4285-b414-8a1933b4cf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ae32bb-a161-4da2-a912-3fd4ef5c7b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10ffe1f-c839-4a66-9ae8-9a2945e491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f4adf3-0360-4285-b414-8a1933b4c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89058e7-3c1f-447e-868b-29c765caa27c}" ma:internalName="TaxCatchAll" ma:showField="CatchAllData" ma:web="5bf4adf3-0360-4285-b414-8a1933b4c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bf4adf3-0360-4285-b414-8a1933b4cf43" xsi:nil="true"/>
    <lcf76f155ced4ddcb4097134ff3c332f xmlns="f3ae32bb-a161-4da2-a912-3fd4ef5c7b4c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27C652F-BEE6-441D-A71A-88252E2C9A2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3EEA809-F75C-4BDA-B7C7-1840495AAC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3ae32bb-a161-4da2-a912-3fd4ef5c7b4c"/>
    <ds:schemaRef ds:uri="5bf4adf3-0360-4285-b414-8a1933b4cf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642088E-17D4-48A5-AED3-C2A54E17AF2A}">
  <ds:schemaRefs>
    <ds:schemaRef ds:uri="f3ae32bb-a161-4da2-a912-3fd4ef5c7b4c"/>
    <ds:schemaRef ds:uri="http://schemas.microsoft.com/office/2006/metadata/properties"/>
    <ds:schemaRef ds:uri="http://purl.org/dc/elements/1.1/"/>
    <ds:schemaRef ds:uri="5bf4adf3-0360-4285-b414-8a1933b4cf43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RYA_русча+</Template>
  <TotalTime>15</TotalTime>
  <Words>338</Words>
  <Application>Microsoft Office PowerPoint</Application>
  <PresentationFormat>Широкоэкранный</PresentationFormat>
  <Paragraphs>101</Paragraphs>
  <Slides>4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4" baseType="lpstr">
      <vt:lpstr>ＭＳ Ｐゴシック</vt:lpstr>
      <vt:lpstr>Arial</vt:lpstr>
      <vt:lpstr>Calibri</vt:lpstr>
      <vt:lpstr>Helvetica Light</vt:lpstr>
      <vt:lpstr>Lato Black</vt:lpstr>
      <vt:lpstr>黑体</vt:lpstr>
      <vt:lpstr>黑体</vt:lpstr>
      <vt:lpstr>Times New Roman</vt:lpstr>
      <vt:lpstr>ETF DARYA Template</vt:lpstr>
      <vt:lpstr>think-cell Slide</vt:lpstr>
      <vt:lpstr>This project is financed by the European Union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project is financed by the European Union</dc:title>
  <dc:creator>Professional</dc:creator>
  <cp:lastModifiedBy>Пользователь Windows</cp:lastModifiedBy>
  <cp:revision>8</cp:revision>
  <dcterms:created xsi:type="dcterms:W3CDTF">2023-04-17T10:08:05Z</dcterms:created>
  <dcterms:modified xsi:type="dcterms:W3CDTF">2023-04-17T16:2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899162D-1F95-4187-B729-CDF75F891726</vt:lpwstr>
  </property>
  <property fmtid="{D5CDD505-2E9C-101B-9397-08002B2CF9AE}" pid="3" name="ArticulatePath">
    <vt:lpwstr>Presentation1</vt:lpwstr>
  </property>
  <property fmtid="{D5CDD505-2E9C-101B-9397-08002B2CF9AE}" pid="4" name="ContentTypeId">
    <vt:lpwstr>0x010100C9D2F5C2D7F38543A7DECC0B91FBF8EC</vt:lpwstr>
  </property>
  <property fmtid="{D5CDD505-2E9C-101B-9397-08002B2CF9AE}" pid="5" name="_dlc_DocIdItemGuid">
    <vt:lpwstr>2a35fef6-cb1a-4152-8596-474e8cd7d8a0</vt:lpwstr>
  </property>
  <property fmtid="{D5CDD505-2E9C-101B-9397-08002B2CF9AE}" pid="6" name="MediaServiceImageTags">
    <vt:lpwstr/>
  </property>
</Properties>
</file>